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5.xml" ContentType="application/vnd.openxmlformats-officedocument.theme+xml"/>
  <Override PartName="/ppt/tags/tag122.xml" ContentType="application/vnd.openxmlformats-officedocument.presentationml.tags+xml"/>
  <Override PartName="/ppt/notesSlides/notesSlide1.xml" ContentType="application/vnd.openxmlformats-officedocument.presentationml.notesSlide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tags/tag125.xml" ContentType="application/vnd.openxmlformats-officedocument.presentationml.tags+xml"/>
  <Override PartName="/ppt/notesSlides/notesSlide4.xml" ContentType="application/vnd.openxmlformats-officedocument.presentationml.notesSlide+xml"/>
  <Override PartName="/ppt/tags/tag126.xml" ContentType="application/vnd.openxmlformats-officedocument.presentationml.tags+xml"/>
  <Override PartName="/ppt/notesSlides/notesSlide5.xml" ContentType="application/vnd.openxmlformats-officedocument.presentationml.notesSlide+xml"/>
  <Override PartName="/ppt/tags/tag127.xml" ContentType="application/vnd.openxmlformats-officedocument.presentationml.tags+xml"/>
  <Override PartName="/ppt/notesSlides/notesSlide6.xml" ContentType="application/vnd.openxmlformats-officedocument.presentationml.notesSlide+xml"/>
  <Override PartName="/ppt/tags/tag128.xml" ContentType="application/vnd.openxmlformats-officedocument.presentationml.tags+xml"/>
  <Override PartName="/ppt/notesSlides/notesSlide7.xml" ContentType="application/vnd.openxmlformats-officedocument.presentationml.notesSlide+xml"/>
  <Override PartName="/ppt/tags/tag129.xml" ContentType="application/vnd.openxmlformats-officedocument.presentationml.tags+xml"/>
  <Override PartName="/ppt/notesSlides/notesSlide8.xml" ContentType="application/vnd.openxmlformats-officedocument.presentationml.notesSlide+xml"/>
  <Override PartName="/ppt/tags/tag130.xml" ContentType="application/vnd.openxmlformats-officedocument.presentationml.tags+xml"/>
  <Override PartName="/ppt/notesSlides/notesSlide9.xml" ContentType="application/vnd.openxmlformats-officedocument.presentationml.notesSlide+xml"/>
  <Override PartName="/ppt/tags/tag131.xml" ContentType="application/vnd.openxmlformats-officedocument.presentationml.tags+xml"/>
  <Override PartName="/ppt/notesSlides/notesSlide10.xml" ContentType="application/vnd.openxmlformats-officedocument.presentationml.notesSlide+xml"/>
  <Override PartName="/ppt/tags/tag132.xml" ContentType="application/vnd.openxmlformats-officedocument.presentationml.tags+xml"/>
  <Override PartName="/ppt/notesSlides/notesSlide11.xml" ContentType="application/vnd.openxmlformats-officedocument.presentationml.notesSlide+xml"/>
  <Override PartName="/ppt/tags/tag13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4.xml" ContentType="application/vnd.openxmlformats-officedocument.presentationml.tags+xml"/>
  <Override PartName="/ppt/notesSlides/notesSlide13.xml" ContentType="application/vnd.openxmlformats-officedocument.presentationml.notesSlide+xml"/>
  <Override PartName="/ppt/tags/tag135.xml" ContentType="application/vnd.openxmlformats-officedocument.presentationml.tags+xml"/>
  <Override PartName="/ppt/notesSlides/notesSlide14.xml" ContentType="application/vnd.openxmlformats-officedocument.presentationml.notesSlide+xml"/>
  <Override PartName="/ppt/tags/tag136.xml" ContentType="application/vnd.openxmlformats-officedocument.presentationml.tags+xml"/>
  <Override PartName="/ppt/notesSlides/notesSlide15.xml" ContentType="application/vnd.openxmlformats-officedocument.presentationml.notesSlide+xml"/>
  <Override PartName="/ppt/tags/tag1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2" r:id="rId4"/>
    <p:sldMasterId id="2147483705" r:id="rId5"/>
    <p:sldMasterId id="2147483772" r:id="rId6"/>
  </p:sldMasterIdLst>
  <p:notesMasterIdLst>
    <p:notesMasterId r:id="rId22"/>
  </p:notesMasterIdLst>
  <p:sldIdLst>
    <p:sldId id="2145709240" r:id="rId7"/>
    <p:sldId id="2147476492" r:id="rId8"/>
    <p:sldId id="2147476484" r:id="rId9"/>
    <p:sldId id="2147476486" r:id="rId10"/>
    <p:sldId id="2145709270" r:id="rId11"/>
    <p:sldId id="514" r:id="rId12"/>
    <p:sldId id="2145709224" r:id="rId13"/>
    <p:sldId id="2145709298" r:id="rId14"/>
    <p:sldId id="2147476491" r:id="rId15"/>
    <p:sldId id="2147476495" r:id="rId16"/>
    <p:sldId id="2147476489" r:id="rId17"/>
    <p:sldId id="2147476487" r:id="rId18"/>
    <p:sldId id="2145709303" r:id="rId19"/>
    <p:sldId id="2147476490" r:id="rId20"/>
    <p:sldId id="50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920D26D-7D36-456E-84B2-04E4E9D7C3C9}">
          <p14:sldIdLst>
            <p14:sldId id="2145709240"/>
          </p14:sldIdLst>
        </p14:section>
        <p14:section name="Untitled Section" id="{6BEA7D9A-3281-42EF-9F56-D43C665157F8}">
          <p14:sldIdLst>
            <p14:sldId id="2147476492"/>
            <p14:sldId id="2147476484"/>
            <p14:sldId id="2147476486"/>
            <p14:sldId id="2145709270"/>
            <p14:sldId id="514"/>
            <p14:sldId id="2145709224"/>
            <p14:sldId id="2145709298"/>
            <p14:sldId id="2147476491"/>
          </p14:sldIdLst>
        </p14:section>
        <p14:section name="Untitled Section" id="{0A07DBDD-7FF5-482B-ADE4-D4DC4FA54AFB}">
          <p14:sldIdLst>
            <p14:sldId id="2147476495"/>
            <p14:sldId id="2147476489"/>
            <p14:sldId id="2147476487"/>
            <p14:sldId id="2145709303"/>
            <p14:sldId id="2147476490"/>
            <p14:sldId id="509"/>
          </p14:sldIdLst>
        </p14:section>
        <p14:section name="Next steps" id="{19EB5919-63A0-48E1-881F-F749E6FC6FA9}">
          <p14:sldIdLst/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2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a K. Alqahtani" initials="MKA" lastIdx="3" clrIdx="0">
    <p:extLst>
      <p:ext uri="{19B8F6BF-5375-455C-9EA6-DF929625EA0E}">
        <p15:presenceInfo xmlns:p15="http://schemas.microsoft.com/office/powerpoint/2012/main" userId="S-1-5-21-2289605455-2898199335-3172061357-128072" providerId="AD"/>
      </p:ext>
    </p:extLst>
  </p:cmAuthor>
  <p:cmAuthor id="2" name="Salman M. Alomiri" initials="SMA" lastIdx="61" clrIdx="1">
    <p:extLst>
      <p:ext uri="{19B8F6BF-5375-455C-9EA6-DF929625EA0E}">
        <p15:presenceInfo xmlns:p15="http://schemas.microsoft.com/office/powerpoint/2012/main" userId="S-1-5-21-2289605455-2898199335-3172061357-121595" providerId="AD"/>
      </p:ext>
    </p:extLst>
  </p:cmAuthor>
  <p:cmAuthor id="3" name="Mohammed A. Alnajjar" initials="MAA" lastIdx="58" clrIdx="2">
    <p:extLst>
      <p:ext uri="{19B8F6BF-5375-455C-9EA6-DF929625EA0E}">
        <p15:presenceInfo xmlns:p15="http://schemas.microsoft.com/office/powerpoint/2012/main" userId="S-1-5-21-2289605455-2898199335-3172061357-128024" providerId="AD"/>
      </p:ext>
    </p:extLst>
  </p:cmAuthor>
  <p:cmAuthor id="4" name="Rafeef S. Alsaeedi" initials="RSA" lastIdx="7" clrIdx="3">
    <p:extLst>
      <p:ext uri="{19B8F6BF-5375-455C-9EA6-DF929625EA0E}">
        <p15:presenceInfo xmlns:p15="http://schemas.microsoft.com/office/powerpoint/2012/main" userId="S-1-5-21-2289605455-2898199335-3172061357-129278" providerId="AD"/>
      </p:ext>
    </p:extLst>
  </p:cmAuthor>
  <p:cmAuthor id="5" name="Mohamad AlGhamdi" initials="MA" lastIdx="6" clrIdx="4">
    <p:extLst>
      <p:ext uri="{19B8F6BF-5375-455C-9EA6-DF929625EA0E}">
        <p15:presenceInfo xmlns:p15="http://schemas.microsoft.com/office/powerpoint/2012/main" userId="b78fd216351593c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68E7B"/>
    <a:srgbClr val="1B9C87"/>
    <a:srgbClr val="22A385"/>
    <a:srgbClr val="1A648C"/>
    <a:srgbClr val="20A784"/>
    <a:srgbClr val="3B729E"/>
    <a:srgbClr val="8AABC5"/>
    <a:srgbClr val="196A8C"/>
    <a:srgbClr val="1B60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56" autoAdjust="0"/>
    <p:restoredTop sz="93883" autoAdjust="0"/>
  </p:normalViewPr>
  <p:slideViewPr>
    <p:cSldViewPr snapToGrid="0">
      <p:cViewPr>
        <p:scale>
          <a:sx n="73" d="100"/>
          <a:sy n="73" d="100"/>
        </p:scale>
        <p:origin x="54" y="153"/>
      </p:cViewPr>
      <p:guideLst>
        <p:guide pos="3840"/>
        <p:guide orient="horz" pos="2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i="0" baseline="0" dirty="0">
                <a:solidFill>
                  <a:schemeClr val="tx1"/>
                </a:solidFill>
                <a:effectLst/>
              </a:rPr>
              <a:t>Semi-annually Readings of Traffic (Gbp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ffic (Gbps)</c:v>
                </c:pt>
              </c:strCache>
            </c:strRef>
          </c:tx>
          <c:spPr>
            <a:solidFill>
              <a:srgbClr val="21A086"/>
            </a:solidFill>
            <a:ln>
              <a:solidFill>
                <a:srgbClr val="199A88"/>
              </a:solidFill>
            </a:ln>
            <a:effectLst/>
          </c:spPr>
          <c:invertIfNegative val="0"/>
          <c:dLbls>
            <c:dLbl>
              <c:idx val="11"/>
              <c:layout>
                <c:manualLayout>
                  <c:x val="-4.722462959033431E-3"/>
                  <c:y val="6.75786952575991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17F-4990-8249-68004A74C4D9}"/>
                </c:ext>
              </c:extLst>
            </c:dLbl>
            <c:dLbl>
              <c:idx val="12"/>
              <c:layout>
                <c:manualLayout>
                  <c:x val="-6.2966172787110872E-3"/>
                  <c:y val="-2.02736085772796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7F-4990-8249-68004A74C4D9}"/>
                </c:ext>
              </c:extLst>
            </c:dLbl>
            <c:dLbl>
              <c:idx val="13"/>
              <c:layout>
                <c:manualLayout>
                  <c:x val="0"/>
                  <c:y val="-1.01368042886397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7F-4990-8249-68004A74C4D9}"/>
                </c:ext>
              </c:extLst>
            </c:dLbl>
            <c:dLbl>
              <c:idx val="14"/>
              <c:layout>
                <c:manualLayout>
                  <c:x val="-1.5741543196777718E-3"/>
                  <c:y val="1.01368042886397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17F-4990-8249-68004A74C4D9}"/>
                </c:ext>
              </c:extLst>
            </c:dLbl>
            <c:dLbl>
              <c:idx val="16"/>
              <c:layout>
                <c:manualLayout>
                  <c:x val="0"/>
                  <c:y val="-4.3926151917439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17F-4990-8249-68004A74C4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H1 - 19</c:v>
                </c:pt>
                <c:pt idx="1">
                  <c:v>H2 - 19</c:v>
                </c:pt>
                <c:pt idx="2">
                  <c:v>H1 - 20</c:v>
                </c:pt>
                <c:pt idx="3">
                  <c:v>H2 - 20</c:v>
                </c:pt>
                <c:pt idx="4">
                  <c:v>H1 - 21</c:v>
                </c:pt>
                <c:pt idx="5">
                  <c:v>H2 - 21</c:v>
                </c:pt>
                <c:pt idx="6">
                  <c:v>H1 - 22</c:v>
                </c:pt>
                <c:pt idx="7">
                  <c:v>H2 - 22</c:v>
                </c:pt>
                <c:pt idx="8">
                  <c:v>H1 - 23</c:v>
                </c:pt>
                <c:pt idx="9">
                  <c:v>H2 - 23 (YTD)</c:v>
                </c:pt>
              </c:strCache>
            </c:strRef>
          </c:cat>
          <c:val>
            <c:numRef>
              <c:f>Sheet1!$B$2:$B$11</c:f>
              <c:numCache>
                <c:formatCode>0.00</c:formatCode>
                <c:ptCount val="10"/>
                <c:pt idx="0">
                  <c:v>21</c:v>
                </c:pt>
                <c:pt idx="1">
                  <c:v>29</c:v>
                </c:pt>
                <c:pt idx="2">
                  <c:v>39</c:v>
                </c:pt>
                <c:pt idx="3">
                  <c:v>53.6</c:v>
                </c:pt>
                <c:pt idx="4">
                  <c:v>57.5</c:v>
                </c:pt>
                <c:pt idx="5">
                  <c:v>100</c:v>
                </c:pt>
                <c:pt idx="6">
                  <c:v>137</c:v>
                </c:pt>
                <c:pt idx="7">
                  <c:v>167.79</c:v>
                </c:pt>
                <c:pt idx="8">
                  <c:v>210.9</c:v>
                </c:pt>
                <c:pt idx="9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17F-4990-8249-68004A74C4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9183200"/>
        <c:axId val="256700912"/>
      </c:barChart>
      <c:catAx>
        <c:axId val="31918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700912"/>
        <c:crosses val="autoZero"/>
        <c:auto val="1"/>
        <c:lblAlgn val="ctr"/>
        <c:lblOffset val="100"/>
        <c:noMultiLvlLbl val="0"/>
      </c:catAx>
      <c:valAx>
        <c:axId val="256700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918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22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4C95B4-A194-B540-8BA1-DB64B78A5F13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lang="ar-SA" sz="1200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C4F7A-CA94-6E4F-A26D-D86849A8C6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186220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3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2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3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4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5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6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7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4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5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6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7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8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9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0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C4F7A-CA94-6E4F-A26D-D86849A8C6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63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0049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1576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0919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970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3018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998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ar-S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74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583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981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447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72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024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6434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C4F7A-CA94-6E4F-A26D-D86849A8C6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243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5" Type="http://schemas.openxmlformats.org/officeDocument/2006/relationships/image" Target="../media/image1.png"/><Relationship Id="rId4" Type="http://schemas.openxmlformats.org/officeDocument/2006/relationships/image" Target="../media/image18.emf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Relationship Id="rId4" Type="http://schemas.openxmlformats.org/officeDocument/2006/relationships/image" Target="../media/image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Relationship Id="rId4" Type="http://schemas.openxmlformats.org/officeDocument/2006/relationships/image" Target="../media/image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Relationship Id="rId4" Type="http://schemas.openxmlformats.org/officeDocument/2006/relationships/image" Target="../media/image3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Relationship Id="rId4" Type="http://schemas.openxmlformats.org/officeDocument/2006/relationships/image" Target="../media/image3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5" Type="http://schemas.openxmlformats.org/officeDocument/2006/relationships/image" Target="../media/image1.png"/><Relationship Id="rId4" Type="http://schemas.openxmlformats.org/officeDocument/2006/relationships/image" Target="../media/image9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612A8A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0292BE-2BA5-45D1-8318-3F69B988DDEE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235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5CE57-53D9-486F-9863-7BDF3EF2015D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3439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855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59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595B5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345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C23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6A9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733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1477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576A9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370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</p:spTree>
    <p:extLst>
      <p:ext uri="{BB962C8B-B14F-4D97-AF65-F5344CB8AC3E}">
        <p14:creationId xmlns:p14="http://schemas.microsoft.com/office/powerpoint/2010/main" val="245570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10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0336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T:\My Pictures\Picture1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</p:spPr>
      </p:pic>
      <p:sp>
        <p:nvSpPr>
          <p:cNvPr id="10" name="object 2"/>
          <p:cNvSpPr txBox="1"/>
          <p:nvPr userDrawn="1"/>
        </p:nvSpPr>
        <p:spPr>
          <a:xfrm>
            <a:off x="11090788" y="6629401"/>
            <a:ext cx="990336" cy="12308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8749"/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VISION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30 </a:t>
            </a:r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©</a:t>
            </a:r>
            <a:r>
              <a:rPr lang="en-US" sz="800" spc="-69">
                <a:solidFill>
                  <a:srgbClr val="798891"/>
                </a:solidFill>
                <a:latin typeface="Arial"/>
                <a:cs typeface="Arial"/>
              </a:rPr>
              <a:t>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16</a:t>
            </a:r>
            <a:endParaRPr lang="en-US" sz="800">
              <a:latin typeface="Arial"/>
              <a:cs typeface="Arial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6683" y="2400238"/>
            <a:ext cx="3059013" cy="205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77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</p:spTree>
    <p:extLst>
      <p:ext uri="{BB962C8B-B14F-4D97-AF65-F5344CB8AC3E}">
        <p14:creationId xmlns:p14="http://schemas.microsoft.com/office/powerpoint/2010/main" val="424826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201327-2BFE-45F3-9D33-86E20EE3790C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8184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5695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9100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76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746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8595B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8595B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rgbClr val="8595B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8595B5"/>
                </a:solidFill>
              </a:rPr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884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8595B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8595B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564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8595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8595B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32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076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8595B5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110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43523-5877-436B-A341-3C0E846C1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E2976-1489-4CC3-A389-789630720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8371B6-2E06-4264-BA20-078159237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28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4" name="Picture 2">
            <a:extLst>
              <a:ext uri="{FF2B5EF4-FFF2-40B4-BE49-F238E27FC236}">
                <a16:creationId xmlns:a16="http://schemas.microsoft.com/office/drawing/2014/main" id="{C5DDDC6F-FBFF-4D7D-96F9-0467E8A56D7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995A27E-81CA-4DBB-9521-2FD570C5F6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  <a:alpha val="55000"/>
                </a:schemeClr>
              </a:gs>
            </a:gsLst>
            <a:lin ang="27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2" y="3112911"/>
            <a:ext cx="6617072" cy="1495794"/>
          </a:xfrm>
          <a:prstGeom prst="rect">
            <a:avLst/>
          </a:prstGeom>
        </p:spPr>
        <p:txBody>
          <a:bodyPr anchor="b" anchorCtr="0"/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612489"/>
            <a:ext cx="6616700" cy="960437"/>
          </a:xfrm>
          <a:prstGeom prst="rect">
            <a:avLst/>
          </a:prstGeom>
        </p:spPr>
        <p:txBody>
          <a:bodyPr anchor="ctr" anchorCtr="0"/>
          <a:lstStyle>
            <a:lvl1pPr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6345CF-42FB-4D74-ABAA-EDB1ABFD3B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017" y="558800"/>
            <a:ext cx="418381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02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612A8A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357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0"/>
            <a:ext cx="12192000" cy="365125"/>
          </a:xfrm>
        </p:spPr>
        <p:txBody>
          <a:bodyPr/>
          <a:lstStyle>
            <a:lvl1pPr>
              <a:defRPr lang="ar-SA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5712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ar-SA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6378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56695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2270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5300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2920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18886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5541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466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4" name="Picture 2">
            <a:extLst>
              <a:ext uri="{FF2B5EF4-FFF2-40B4-BE49-F238E27FC236}">
                <a16:creationId xmlns:a16="http://schemas.microsoft.com/office/drawing/2014/main" id="{C5DDDC6F-FBFF-4D7D-96F9-0467E8A56D7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995A27E-81CA-4DBB-9521-2FD570C5F6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  <a:alpha val="55000"/>
                </a:schemeClr>
              </a:gs>
            </a:gsLst>
            <a:lin ang="27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2" y="2895498"/>
            <a:ext cx="3181348" cy="886397"/>
          </a:xfrm>
          <a:prstGeom prst="rect">
            <a:avLst/>
          </a:prstGeom>
        </p:spPr>
        <p:txBody>
          <a:bodyPr anchor="ctr" anchorCtr="0"/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Overlay">
            <a:extLst>
              <a:ext uri="{FF2B5EF4-FFF2-40B4-BE49-F238E27FC236}">
                <a16:creationId xmlns:a16="http://schemas.microsoft.com/office/drawing/2014/main" id="{029F0EDF-3535-4735-B664-E6316FC6D6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343400" y="0"/>
            <a:ext cx="7848599" cy="6858000"/>
          </a:xfrm>
          <a:prstGeom prst="rect">
            <a:avLst/>
          </a:prstGeom>
          <a:solidFill>
            <a:schemeClr val="accent6">
              <a:lumMod val="10000"/>
              <a:alpha val="62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0F24E86-B18D-43CF-AEC5-6BED447DCE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7B880F-C206-4E82-8909-D78FE5AF927D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92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8373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7B507F5-FC70-484A-B76F-544654E79439}"/>
              </a:ext>
            </a:extLst>
          </p:cNvPr>
          <p:cNvCxnSpPr>
            <a:cxnSpLocks/>
          </p:cNvCxnSpPr>
          <p:nvPr userDrawn="1"/>
        </p:nvCxnSpPr>
        <p:spPr>
          <a:xfrm>
            <a:off x="950032" y="1517281"/>
            <a:ext cx="1040376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>
            <a:extLst>
              <a:ext uri="{FF2B5EF4-FFF2-40B4-BE49-F238E27FC236}">
                <a16:creationId xmlns:a16="http://schemas.microsoft.com/office/drawing/2014/main" id="{EF71E220-C97E-4098-9161-A81FF4E9B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8824" y="395148"/>
            <a:ext cx="10510386" cy="257369"/>
          </a:xfrm>
        </p:spPr>
        <p:txBody>
          <a:bodyPr wrap="square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ar-SA" dirty="0"/>
              <a:t>العنوان الثانوي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E8C8DC9-36B1-403A-A5B5-538CC4B7996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1277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1">
              <a:defRPr lang="ar-SA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4B36B56-865F-4190-9F6A-8F1AB4A2E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42272" y="6127750"/>
            <a:ext cx="5695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1">
              <a:defRPr sz="1600">
                <a:solidFill>
                  <a:schemeClr val="accent1"/>
                </a:solidFill>
                <a:cs typeface="+mj-cs"/>
              </a:defRPr>
            </a:lvl1pPr>
          </a:lstStyle>
          <a:p>
            <a:fld id="{F4A23774-148E-47EC-80BA-512A95D80B79}" type="slidenum">
              <a:rPr lang="ar-SA" smtClean="0"/>
              <a:pPr/>
              <a:t>‹#›</a:t>
            </a:fld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2669725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gradFill flip="none" rotWithShape="1">
          <a:gsLst>
            <a:gs pos="0">
              <a:schemeClr val="accent6">
                <a:lumMod val="10000"/>
              </a:schemeClr>
            </a:gs>
            <a:gs pos="100000">
              <a:schemeClr val="accent6">
                <a:lumMod val="2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2" y="2895498"/>
            <a:ext cx="3181348" cy="886397"/>
          </a:xfrm>
          <a:prstGeom prst="rect">
            <a:avLst/>
          </a:prstGeom>
        </p:spPr>
        <p:txBody>
          <a:bodyPr anchor="ctr" anchorCtr="0"/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Overlay">
            <a:extLst>
              <a:ext uri="{FF2B5EF4-FFF2-40B4-BE49-F238E27FC236}">
                <a16:creationId xmlns:a16="http://schemas.microsoft.com/office/drawing/2014/main" id="{029F0EDF-3535-4735-B664-E6316FC6D6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343400" y="0"/>
            <a:ext cx="7848599" cy="6858000"/>
          </a:xfrm>
          <a:prstGeom prst="rect">
            <a:avLst/>
          </a:prstGeom>
          <a:solidFill>
            <a:schemeClr val="accent6">
              <a:lumMod val="10000"/>
              <a:alpha val="62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9277F29-E88D-4298-A275-72D6C2FCE9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C4817-AA9E-40D6-BDD7-47AA0E52842F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96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EEB5B4-006E-44F2-B91B-6ED8ED9ED839}"/>
              </a:ext>
            </a:extLst>
          </p:cNvPr>
          <p:cNvSpPr/>
          <p:nvPr userDrawn="1"/>
        </p:nvSpPr>
        <p:spPr>
          <a:xfrm>
            <a:off x="0" y="-1"/>
            <a:ext cx="12192000" cy="178647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</a:schemeClr>
              </a:gs>
            </a:gsLst>
            <a:lin ang="108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43FEAD-9701-49EB-87AD-D4FD96AF91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8768001" y="-2"/>
            <a:ext cx="3423999" cy="17864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F471BE-6476-4628-A0E9-5C00BB818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253" r="26588" b="11208"/>
          <a:stretch/>
        </p:blipFill>
        <p:spPr>
          <a:xfrm flipH="1" flipV="1">
            <a:off x="-2" y="-2"/>
            <a:ext cx="3423999" cy="1786475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EDF0CF-4B2B-420B-8323-F01030422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064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EEB5B4-006E-44F2-B91B-6ED8ED9ED839}"/>
              </a:ext>
            </a:extLst>
          </p:cNvPr>
          <p:cNvSpPr/>
          <p:nvPr userDrawn="1"/>
        </p:nvSpPr>
        <p:spPr>
          <a:xfrm>
            <a:off x="0" y="-1"/>
            <a:ext cx="12192000" cy="178647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</a:schemeClr>
              </a:gs>
            </a:gsLst>
            <a:lin ang="108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43FEAD-9701-49EB-87AD-D4FD96AF91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8768001" y="-2"/>
            <a:ext cx="3423999" cy="17864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F471BE-6476-4628-A0E9-5C00BB818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253" r="26588" b="11208"/>
          <a:stretch/>
        </p:blipFill>
        <p:spPr>
          <a:xfrm flipH="1" flipV="1">
            <a:off x="-2" y="-2"/>
            <a:ext cx="3423999" cy="1786475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EDF0CF-4B2B-420B-8323-F01030422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796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0" y="1778000"/>
            <a:ext cx="6108701" cy="50800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43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0" y="1785938"/>
            <a:ext cx="6108701" cy="50720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17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1" y="1778000"/>
            <a:ext cx="4064000" cy="50800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52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78931"/>
            <a:ext cx="10338487" cy="646331"/>
          </a:xfrm>
        </p:spPr>
        <p:txBody>
          <a:bodyPr/>
          <a:lstStyle>
            <a:lvl1pPr>
              <a:defRPr>
                <a:solidFill>
                  <a:srgbClr val="175A8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6E16F-E886-43B9-BC0C-2932CFEBF4D4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0"/>
            <a:ext cx="12192000" cy="365125"/>
          </a:xfrm>
        </p:spPr>
        <p:txBody>
          <a:bodyPr/>
          <a:lstStyle>
            <a:lvl1pPr>
              <a:defRPr lang="ar-SA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876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1" y="1778000"/>
            <a:ext cx="3122578" cy="50800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92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1" y="1778000"/>
            <a:ext cx="2104844" cy="50800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46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8119148" y="1778000"/>
            <a:ext cx="4064000" cy="50800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A55C1F-D683-4020-AE3B-B1976F429227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459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BA3F58-740D-4BC3-BAD5-1BD5F1216B5B}"/>
              </a:ext>
            </a:extLst>
          </p:cNvPr>
          <p:cNvSpPr/>
          <p:nvPr userDrawn="1"/>
        </p:nvSpPr>
        <p:spPr>
          <a:xfrm>
            <a:off x="8789091" y="1786471"/>
            <a:ext cx="3402911" cy="50673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0D8C77-B08A-4A04-BC2D-47FBCA253599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03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BA3F58-740D-4BC3-BAD5-1BD5F1216B5B}"/>
              </a:ext>
            </a:extLst>
          </p:cNvPr>
          <p:cNvSpPr/>
          <p:nvPr userDrawn="1"/>
        </p:nvSpPr>
        <p:spPr>
          <a:xfrm>
            <a:off x="0" y="1786471"/>
            <a:ext cx="3402911" cy="50673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11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4D741C-6284-4C90-967A-9BBC0F243CDD}"/>
              </a:ext>
            </a:extLst>
          </p:cNvPr>
          <p:cNvGrpSpPr/>
          <p:nvPr userDrawn="1"/>
        </p:nvGrpSpPr>
        <p:grpSpPr>
          <a:xfrm>
            <a:off x="-2" y="-2"/>
            <a:ext cx="12192002" cy="1786476"/>
            <a:chOff x="-2" y="-2"/>
            <a:chExt cx="12192002" cy="17864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42F36D-375E-41D8-B26A-04B8C035AADA}"/>
                </a:ext>
              </a:extLst>
            </p:cNvPr>
            <p:cNvSpPr/>
            <p:nvPr userDrawn="1"/>
          </p:nvSpPr>
          <p:spPr>
            <a:xfrm>
              <a:off x="0" y="-1"/>
              <a:ext cx="12192000" cy="178647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10000"/>
                  </a:schemeClr>
                </a:gs>
                <a:gs pos="100000">
                  <a:schemeClr val="accent6">
                    <a:lumMod val="25000"/>
                  </a:schemeClr>
                </a:gs>
              </a:gsLst>
              <a:lin ang="108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PT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9573AB-877C-47E6-BB26-AC9C8413D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607" r="26588" b="52854"/>
            <a:stretch/>
          </p:blipFill>
          <p:spPr>
            <a:xfrm>
              <a:off x="8768001" y="-2"/>
              <a:ext cx="3423999" cy="178647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A8DBAC-5AFA-4347-AEF2-A0BD2C4339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253" r="26588" b="11208"/>
            <a:stretch/>
          </p:blipFill>
          <p:spPr>
            <a:xfrm flipH="1" flipV="1">
              <a:off x="-2" y="-2"/>
              <a:ext cx="3423999" cy="17864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D81FCAF-2D25-4D0E-A419-DDBB3A26E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30CD16-5239-45B7-BC62-26DCE58E5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01656-0142-4385-9C31-9E6DA6867431}"/>
              </a:ext>
            </a:extLst>
          </p:cNvPr>
          <p:cNvSpPr/>
          <p:nvPr userDrawn="1"/>
        </p:nvSpPr>
        <p:spPr>
          <a:xfrm>
            <a:off x="12701" y="1790700"/>
            <a:ext cx="6096000" cy="50673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08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185E51-F670-462A-B569-40E65228CF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6" r="26588" b="34056"/>
          <a:stretch/>
        </p:blipFill>
        <p:spPr>
          <a:xfrm rot="16200000">
            <a:off x="9139448" y="393698"/>
            <a:ext cx="3423999" cy="26811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7E7C4F9-DA7E-46B8-A95D-2E98F8808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4087929" y="3659441"/>
            <a:ext cx="3352800" cy="3198559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421CB2D-5888-4D58-A547-05E992574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A9E024-23C5-4C7F-A245-4B3F3A0DAD93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65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B470FF-355E-419F-ABB0-15744A0B54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7140206" y="3659441"/>
            <a:ext cx="3352800" cy="3198559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255E6FB-0452-42CA-813C-B380433A2A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4A5553-CB27-4611-9CA7-5F57E80E5B7F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33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19" y="-1309"/>
            <a:ext cx="8103981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976C70E-D935-4685-882E-8AEF51AD65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400" r="26588" b="8909"/>
          <a:stretch/>
        </p:blipFill>
        <p:spPr>
          <a:xfrm>
            <a:off x="664020" y="-1309"/>
            <a:ext cx="3423999" cy="2507530"/>
          </a:xfrm>
          <a:prstGeom prst="rect">
            <a:avLst/>
          </a:prstGeom>
        </p:spPr>
      </p:pic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B7834022-B357-423B-98FC-A309758372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0A0AFF-5E56-43BF-86E3-C70C27077351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685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828800"/>
            <a:ext cx="3127881" cy="3200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19" y="-1309"/>
            <a:ext cx="8103981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85646EB-0CDC-40E7-B1DA-69704D9AA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400" r="26588" b="8909"/>
          <a:stretch/>
        </p:blipFill>
        <p:spPr>
          <a:xfrm>
            <a:off x="664020" y="-1309"/>
            <a:ext cx="3423999" cy="2507530"/>
          </a:xfrm>
          <a:prstGeom prst="rect">
            <a:avLst/>
          </a:prstGeom>
        </p:spPr>
      </p:pic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9C207D4-DB38-490C-8572-A69CF7E359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562023-5FDA-4FD2-A18F-B5509FA0CB29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52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4B82F-28E9-419F-8C46-943A45EE8009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8315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640554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204062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77029" y="-1309"/>
            <a:ext cx="9114971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C6B72D-9E27-4547-8B1A-6997D0AEE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400" r="26588" b="8909"/>
          <a:stretch/>
        </p:blipFill>
        <p:spPr>
          <a:xfrm>
            <a:off x="-367875" y="-1309"/>
            <a:ext cx="3423999" cy="2507530"/>
          </a:xfrm>
          <a:prstGeom prst="rect">
            <a:avLst/>
          </a:prstGeom>
        </p:spPr>
      </p:pic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2E1499F-CC7E-41A7-9CD9-85FFD604CC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2F8061-E5E3-4659-A125-9ABB76573C6B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48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E43878-7E70-4B06-91FE-C3D81E22C3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400" r="26588" b="8909"/>
          <a:stretch/>
        </p:blipFill>
        <p:spPr>
          <a:xfrm>
            <a:off x="2616200" y="-1310"/>
            <a:ext cx="3475823" cy="254548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B22CBDA-379A-4CA7-AC84-BC9B95ED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30" r="46001" b="8909"/>
          <a:stretch/>
        </p:blipFill>
        <p:spPr>
          <a:xfrm flipH="1" flipV="1">
            <a:off x="-1" y="4038600"/>
            <a:ext cx="2556693" cy="2819400"/>
          </a:xfrm>
          <a:prstGeom prst="rect">
            <a:avLst/>
          </a:prstGeom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C0094ED2-02C7-41D0-B633-79B8089594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74B2C1-C33C-4943-BCE9-54F7F573558C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79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4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FDBDD03-51BC-4A11-AF03-C004CF471F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0" y="3659441"/>
            <a:ext cx="3352800" cy="31985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616EAF-B047-4153-8FD8-A511F6B6E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34" t="55700" r="502" b="10148"/>
          <a:stretch/>
        </p:blipFill>
        <p:spPr>
          <a:xfrm>
            <a:off x="1295400" y="-8909"/>
            <a:ext cx="4630196" cy="1813559"/>
          </a:xfrm>
          <a:prstGeom prst="rect">
            <a:avLst/>
          </a:prstGeom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4C52CF6-23C3-459D-AD5A-B5F355C14D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57680A1-24C5-4187-81E8-3B73D9838F12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80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304" y="0"/>
            <a:ext cx="4372456" cy="6858000"/>
          </a:xfrm>
          <a:prstGeom prst="rect">
            <a:avLst/>
          </a:prstGeom>
          <a:noFill/>
          <a:ln>
            <a:noFill/>
          </a:ln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0B4E9A-BCFF-4B42-B833-98034192C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99336"/>
            <a:ext cx="6629400" cy="3877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7CB273-37E0-42A0-9030-6B3DDA3ED8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752600"/>
            <a:ext cx="6629400" cy="465296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 marL="180975" indent="-180975">
              <a:buClr>
                <a:schemeClr val="tx2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D37A1E42-1495-4B03-8E89-706AF2921C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42B327-C598-469E-A52F-5C1946931E34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96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709643F-F1B6-457C-B69B-F439FD2B5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345FC5-1581-4BA8-AB21-7B900A7C463D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41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3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D02421BA-E242-4E8B-9EF5-4EE290F86A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A6FBBE-8C44-41F3-BD37-4225E4E0D6BF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64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543777-B7B9-4FA6-B65E-D70D16E9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 flipH="1">
            <a:off x="8839199" y="3659441"/>
            <a:ext cx="3352800" cy="319855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107AE63-E74E-4A77-8C77-BA6F4F3194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" t="9606" r="25453" b="6563"/>
          <a:stretch/>
        </p:blipFill>
        <p:spPr>
          <a:xfrm rot="10800000" flipH="1">
            <a:off x="10375739" y="-318374"/>
            <a:ext cx="1816261" cy="2114210"/>
          </a:xfrm>
          <a:prstGeom prst="rect">
            <a:avLst/>
          </a:prstGeom>
        </p:spPr>
      </p:pic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2E12B24E-E7E2-4CDD-A044-D6A447BC68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5B027E-1EBA-4479-A850-415CB153A31F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35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blipFill>
            <a:blip r:embed="rId3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6CB4056-F7CF-406B-83E0-2F509B4F9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BA7489-8876-4DF3-8550-FC241AFC6002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10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5056546-0AED-482E-A1DA-D48E1CE004EB}"/>
              </a:ext>
            </a:extLst>
          </p:cNvPr>
          <p:cNvSpPr/>
          <p:nvPr userDrawn="1"/>
        </p:nvSpPr>
        <p:spPr>
          <a:xfrm>
            <a:off x="3528684" y="0"/>
            <a:ext cx="8663315" cy="6858000"/>
          </a:xfrm>
          <a:custGeom>
            <a:avLst/>
            <a:gdLst>
              <a:gd name="connsiteX0" fmla="*/ 2924886 w 8663315"/>
              <a:gd name="connsiteY0" fmla="*/ 0 h 6858000"/>
              <a:gd name="connsiteX1" fmla="*/ 8663315 w 8663315"/>
              <a:gd name="connsiteY1" fmla="*/ 0 h 6858000"/>
              <a:gd name="connsiteX2" fmla="*/ 8663315 w 8663315"/>
              <a:gd name="connsiteY2" fmla="*/ 6858000 h 6858000"/>
              <a:gd name="connsiteX3" fmla="*/ 0 w 8663315"/>
              <a:gd name="connsiteY3" fmla="*/ 6858000 h 6858000"/>
              <a:gd name="connsiteX4" fmla="*/ 43780 w 8663315"/>
              <a:gd name="connsiteY4" fmla="*/ 6728545 h 6858000"/>
              <a:gd name="connsiteX5" fmla="*/ 1707459 w 8663315"/>
              <a:gd name="connsiteY5" fmla="*/ 4882078 h 6858000"/>
              <a:gd name="connsiteX6" fmla="*/ 2890352 w 8663315"/>
              <a:gd name="connsiteY6" fmla="*/ 1670759 h 6858000"/>
              <a:gd name="connsiteX7" fmla="*/ 2894616 w 8663315"/>
              <a:gd name="connsiteY7" fmla="*/ 161532 h 6858000"/>
              <a:gd name="connsiteX8" fmla="*/ 2924886 w 866331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63315" h="6858000">
                <a:moveTo>
                  <a:pt x="2924886" y="0"/>
                </a:moveTo>
                <a:lnTo>
                  <a:pt x="8663315" y="0"/>
                </a:lnTo>
                <a:lnTo>
                  <a:pt x="8663315" y="6858000"/>
                </a:lnTo>
                <a:lnTo>
                  <a:pt x="0" y="6858000"/>
                </a:lnTo>
                <a:lnTo>
                  <a:pt x="43780" y="6728545"/>
                </a:lnTo>
                <a:cubicBezTo>
                  <a:pt x="385914" y="5857182"/>
                  <a:pt x="1168686" y="5171164"/>
                  <a:pt x="1707459" y="4882078"/>
                </a:cubicBezTo>
                <a:cubicBezTo>
                  <a:pt x="2491130" y="4461590"/>
                  <a:pt x="3197055" y="3466850"/>
                  <a:pt x="2890352" y="1670759"/>
                </a:cubicBezTo>
                <a:cubicBezTo>
                  <a:pt x="2804638" y="1168806"/>
                  <a:pt x="2813492" y="652590"/>
                  <a:pt x="2894616" y="161532"/>
                </a:cubicBezTo>
                <a:lnTo>
                  <a:pt x="2924886" y="0"/>
                </a:lnTo>
                <a:close/>
              </a:path>
            </a:pathLst>
          </a:custGeom>
          <a:gradFill>
            <a:gsLst>
              <a:gs pos="0">
                <a:schemeClr val="accent6">
                  <a:lumMod val="25000"/>
                </a:schemeClr>
              </a:gs>
              <a:gs pos="100000">
                <a:schemeClr val="accent6">
                  <a:lumMod val="10000"/>
                </a:schemeClr>
              </a:gs>
            </a:gsLst>
            <a:lin ang="8100000" scaled="1"/>
          </a:gradFill>
          <a:ln w="4070" cap="flat">
            <a:noFill/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0A4F146-212F-466E-838D-18BEAEBD7792}"/>
              </a:ext>
            </a:extLst>
          </p:cNvPr>
          <p:cNvSpPr/>
          <p:nvPr userDrawn="1"/>
        </p:nvSpPr>
        <p:spPr>
          <a:xfrm>
            <a:off x="3382658" y="0"/>
            <a:ext cx="3150315" cy="6858000"/>
          </a:xfrm>
          <a:custGeom>
            <a:avLst/>
            <a:gdLst>
              <a:gd name="connsiteX0" fmla="*/ 2893990 w 3150315"/>
              <a:gd name="connsiteY0" fmla="*/ 0 h 6858000"/>
              <a:gd name="connsiteX1" fmla="*/ 3114129 w 3150315"/>
              <a:gd name="connsiteY1" fmla="*/ 0 h 6858000"/>
              <a:gd name="connsiteX2" fmla="*/ 3086020 w 3150315"/>
              <a:gd name="connsiteY2" fmla="*/ 161637 h 6858000"/>
              <a:gd name="connsiteX3" fmla="*/ 3082206 w 3150315"/>
              <a:gd name="connsiteY3" fmla="*/ 1671351 h 6858000"/>
              <a:gd name="connsiteX4" fmla="*/ 1983294 w 3150315"/>
              <a:gd name="connsiteY4" fmla="*/ 4882669 h 6858000"/>
              <a:gd name="connsiteX5" fmla="*/ 437613 w 3150315"/>
              <a:gd name="connsiteY5" fmla="*/ 6728875 h 6858000"/>
              <a:gd name="connsiteX6" fmla="*/ 397081 w 3150315"/>
              <a:gd name="connsiteY6" fmla="*/ 6858000 h 6858000"/>
              <a:gd name="connsiteX7" fmla="*/ 0 w 3150315"/>
              <a:gd name="connsiteY7" fmla="*/ 6858000 h 6858000"/>
              <a:gd name="connsiteX8" fmla="*/ 30217 w 3150315"/>
              <a:gd name="connsiteY8" fmla="*/ 6761809 h 6858000"/>
              <a:gd name="connsiteX9" fmla="*/ 1730504 w 3150315"/>
              <a:gd name="connsiteY9" fmla="*/ 4730679 h 6858000"/>
              <a:gd name="connsiteX10" fmla="*/ 2939199 w 3150315"/>
              <a:gd name="connsiteY10" fmla="*/ 1198228 h 6858000"/>
              <a:gd name="connsiteX11" fmla="*/ 2883083 w 3150315"/>
              <a:gd name="connsiteY11" fmla="*/ 141302 h 6858000"/>
              <a:gd name="connsiteX12" fmla="*/ 2893990 w 315031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50315" h="6858000">
                <a:moveTo>
                  <a:pt x="2893990" y="0"/>
                </a:moveTo>
                <a:lnTo>
                  <a:pt x="3114129" y="0"/>
                </a:lnTo>
                <a:lnTo>
                  <a:pt x="3086020" y="161637"/>
                </a:lnTo>
                <a:cubicBezTo>
                  <a:pt x="3010733" y="652777"/>
                  <a:pt x="3002577" y="1169139"/>
                  <a:pt x="3082206" y="1671351"/>
                </a:cubicBezTo>
                <a:cubicBezTo>
                  <a:pt x="3367135" y="3467441"/>
                  <a:pt x="2711327" y="4462181"/>
                  <a:pt x="1983294" y="4882669"/>
                </a:cubicBezTo>
                <a:cubicBezTo>
                  <a:pt x="1482523" y="5171754"/>
                  <a:pt x="755246" y="5857493"/>
                  <a:pt x="437613" y="6728875"/>
                </a:cubicBezTo>
                <a:lnTo>
                  <a:pt x="397081" y="6858000"/>
                </a:lnTo>
                <a:lnTo>
                  <a:pt x="0" y="6858000"/>
                </a:lnTo>
                <a:lnTo>
                  <a:pt x="30217" y="6761809"/>
                </a:lnTo>
                <a:cubicBezTo>
                  <a:pt x="379778" y="5803465"/>
                  <a:pt x="1179830" y="5049038"/>
                  <a:pt x="1730504" y="4730679"/>
                </a:cubicBezTo>
                <a:cubicBezTo>
                  <a:pt x="2531124" y="4267610"/>
                  <a:pt x="3252658" y="3173514"/>
                  <a:pt x="2939199" y="1198228"/>
                </a:cubicBezTo>
                <a:cubicBezTo>
                  <a:pt x="2883676" y="848487"/>
                  <a:pt x="2866901" y="492509"/>
                  <a:pt x="2883083" y="141302"/>
                </a:cubicBezTo>
                <a:lnTo>
                  <a:pt x="2893990" y="0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BDAD8E4-1E76-4853-B309-DB4A51F7F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38" r="8029" b="8909"/>
          <a:stretch/>
        </p:blipFill>
        <p:spPr>
          <a:xfrm flipV="1">
            <a:off x="9052571" y="4245374"/>
            <a:ext cx="3150315" cy="26126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F329FB9-D95C-49EC-AB33-6C8CA6FBCDB3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66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537689-BA87-4E7D-83A8-3E26A32C69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4064994" y="3659441"/>
            <a:ext cx="3352800" cy="31985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52C5F15-30B6-4957-B455-0015CCBA1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92" t="-6832" r="39972" b="46599"/>
          <a:stretch/>
        </p:blipFill>
        <p:spPr>
          <a:xfrm flipV="1">
            <a:off x="8001000" y="-25400"/>
            <a:ext cx="3352800" cy="3198559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D3CDECA-46EE-426A-89F2-E510D2346F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BFC44B-342E-4FAC-9EC2-005ED5941F38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13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E095D-23C2-476C-B73E-71C09039BD1B}" type="datetime1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323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595101"/>
            <a:ext cx="6276529" cy="3877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915B926F-C736-4FE5-9AB3-4FE8C79098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C460BE-0F6E-4B21-8E06-41559605F519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930B49-3C4A-44D5-91C4-1F14D46C12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7162800" y="3661282"/>
            <a:ext cx="3352800" cy="319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6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595101"/>
            <a:ext cx="8101584" cy="3877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14E151-D0DA-4E3C-8878-EB39975CD7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8839200" y="3661282"/>
            <a:ext cx="3352800" cy="3198559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068077A-489F-44D4-8930-15A6178C0F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7BF010-8953-4E34-B40E-741D0528D77C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29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2D17FB-D3CD-417A-817A-0FB2AE2AF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99336"/>
            <a:ext cx="3124200" cy="77559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C66F3A-EF37-4F6A-8E66-ED2F7198917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1000" y="2438400"/>
            <a:ext cx="3200400" cy="381000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>
                <a:schemeClr val="tx2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99768DA-B552-4AE8-9C78-DE59910E9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202235" y="5071525"/>
            <a:ext cx="3423999" cy="1786475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A754A44-F169-40E4-BF8E-E6E03362E8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97E07F-72CD-4331-B3FC-8467C09906B1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561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78378" y="0"/>
            <a:ext cx="61136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B464A6E-5E27-407A-9A2F-54A573F736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202235" y="4458799"/>
            <a:ext cx="4598365" cy="2399202"/>
          </a:xfrm>
          <a:prstGeom prst="rect">
            <a:avLst/>
          </a:prstGeom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6C9B140-F3E9-49AA-A525-EE6BD02A4B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68EF082-31A7-490E-BECC-34B4AA4F3CFE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58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E5A6E49-47F8-4624-9890-DBAB388D1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7AA864-84D6-490F-9CB5-57F7784F872C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26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25000"/>
                </a:schemeClr>
              </a:gs>
              <a:gs pos="100000">
                <a:schemeClr val="accent6">
                  <a:lumMod val="1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3C1D7B-89A5-4C77-9361-6C2471812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0" y="3659441"/>
            <a:ext cx="3352800" cy="3198559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A89C9BF-81C6-4732-9B27-05B4B186F5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0BAA14-9CE4-4CF9-B801-F92420FD18A0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43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blipFill dpi="0" rotWithShape="1">
            <a:blip r:embed="rId3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0914E96-6554-4063-B0DA-A68D600EDF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4F4E870-6B19-4D6D-B5C3-B053434AFD25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50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accent6">
                  <a:lumMod val="25000"/>
                </a:schemeClr>
              </a:gs>
              <a:gs pos="100000">
                <a:schemeClr val="accent6">
                  <a:lumMod val="1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CAA7601-5D51-4BCA-BEE0-7896F2A1E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202235" y="5071525"/>
            <a:ext cx="3423999" cy="1786475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F9ACE964-93F9-4427-A8C0-5D7CD737B6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80F7E9-85EC-4BE3-A20B-6A2433506B63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22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595101"/>
            <a:ext cx="6254496" cy="3877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>
                    <a:lumMod val="2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FA4DDA9-0E4C-4A9D-BB91-632814B86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 flipV="1">
            <a:off x="8446239" y="-5776"/>
            <a:ext cx="3423999" cy="178647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55A9531-E9F6-4C20-AF6C-6F56086B2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45546A-D673-4F8F-A7FE-50770C0DEB3B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65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6">
                  <a:lumMod val="25000"/>
                </a:schemeClr>
              </a:gs>
              <a:gs pos="100000">
                <a:schemeClr val="accent6">
                  <a:lumMod val="10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F5D7B92-B63D-4084-BD78-82F77F45D2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16774"/>
          <a:stretch/>
        </p:blipFill>
        <p:spPr>
          <a:xfrm flipH="1">
            <a:off x="-1" y="3189974"/>
            <a:ext cx="3657600" cy="3742541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AF335F2-4C10-404C-BD1A-95CAF224F1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17B29D3-A5D9-4748-AB44-5FBBAF61FA56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27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A9EFA-6116-4AC8-9DDD-F0D704AAF53A}" type="datetime1">
              <a:rPr lang="en-US" smtClean="0"/>
              <a:t>10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0788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accent6">
                <a:lumMod val="10000"/>
              </a:schemeClr>
            </a:gs>
            <a:gs pos="100000">
              <a:schemeClr val="accent6">
                <a:lumMod val="25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9092C-3F66-419B-99E8-8C8B0343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684" y="1986602"/>
            <a:ext cx="2723433" cy="132959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88FDC7D-5C00-4CE0-8779-1D212615AA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00600" y="3175"/>
            <a:ext cx="7391400" cy="68548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3913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1F42CF-CA94-4906-8218-3C20FC029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8579" y="3519904"/>
            <a:ext cx="8604621" cy="1495794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671DE50-0582-4EE6-9885-70B536BF6B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5FC2E8-650A-4133-8BF9-24AEC2C2FBCA}"/>
              </a:ext>
            </a:extLst>
          </p:cNvPr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77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4" name="Picture 2">
            <a:extLst>
              <a:ext uri="{FF2B5EF4-FFF2-40B4-BE49-F238E27FC236}">
                <a16:creationId xmlns:a16="http://schemas.microsoft.com/office/drawing/2014/main" id="{C5DDDC6F-FBFF-4D7D-96F9-0467E8A56D7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995A27E-81CA-4DBB-9521-2FD570C5F6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  <a:alpha val="55000"/>
                </a:schemeClr>
              </a:gs>
            </a:gsLst>
            <a:lin ang="27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2" y="2395137"/>
            <a:ext cx="5086348" cy="1495794"/>
          </a:xfrm>
          <a:prstGeom prst="rect">
            <a:avLst/>
          </a:prstGeom>
        </p:spPr>
        <p:txBody>
          <a:bodyPr anchor="b" anchorCtr="0"/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3894715"/>
            <a:ext cx="5086062" cy="960437"/>
          </a:xfrm>
          <a:prstGeom prst="rect">
            <a:avLst/>
          </a:prstGeom>
        </p:spPr>
        <p:txBody>
          <a:bodyPr anchor="ctr" anchorCtr="0"/>
          <a:lstStyle>
            <a:lvl1pPr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6345CF-42FB-4D74-ABAA-EDB1ABFD3B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0400" y="2946400"/>
            <a:ext cx="418381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0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een one third">
    <p:bg>
      <p:bgPr>
        <a:gradFill flip="none" rotWithShape="1">
          <a:gsLst>
            <a:gs pos="0">
              <a:schemeClr val="accent6">
                <a:lumMod val="25000"/>
              </a:schemeClr>
            </a:gs>
            <a:gs pos="100000">
              <a:schemeClr val="accent6">
                <a:lumMod val="1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62172F-B2A1-4B54-9F87-707DC2B8FA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78" t="9606" r="502" b="30161"/>
          <a:stretch/>
        </p:blipFill>
        <p:spPr>
          <a:xfrm>
            <a:off x="-19280" y="3661282"/>
            <a:ext cx="3352800" cy="319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9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T:\My Pictures\Picture1.png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05402" y="3184448"/>
            <a:ext cx="6617072" cy="443070"/>
          </a:xfrm>
          <a:prstGeom prst="rect">
            <a:avLst/>
          </a:prstGeom>
        </p:spPr>
        <p:txBody>
          <a:bodyPr anchor="ctr" anchorCtr="0"/>
          <a:lstStyle>
            <a:lvl1pPr>
              <a:defRPr sz="319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4068765"/>
            <a:ext cx="6616700" cy="960437"/>
          </a:xfrm>
          <a:prstGeom prst="rect">
            <a:avLst/>
          </a:prstGeom>
        </p:spPr>
        <p:txBody>
          <a:bodyPr anchor="ctr" anchorCtr="0"/>
          <a:lstStyle>
            <a:lvl1pPr>
              <a:defRPr sz="23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object 2"/>
          <p:cNvSpPr txBox="1"/>
          <p:nvPr userDrawn="1"/>
        </p:nvSpPr>
        <p:spPr>
          <a:xfrm>
            <a:off x="11090788" y="6629401"/>
            <a:ext cx="990336" cy="12308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8749"/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VISION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30 </a:t>
            </a:r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©</a:t>
            </a:r>
            <a:r>
              <a:rPr lang="en-US" sz="800" spc="-69">
                <a:solidFill>
                  <a:srgbClr val="798891"/>
                </a:solidFill>
                <a:latin typeface="Arial"/>
                <a:cs typeface="Arial"/>
              </a:rPr>
              <a:t>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16</a:t>
            </a:r>
            <a:endParaRPr lang="en-US" sz="800">
              <a:latin typeface="Arial"/>
              <a:cs typeface="Arial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0734" y="533277"/>
            <a:ext cx="2071740" cy="139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026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76A9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355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692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8859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20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D34C0-23BD-487F-BA53-E2E5DACB3B1D}" type="datetime1">
              <a:rPr lang="en-US" smtClean="0"/>
              <a:t>10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6084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067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9021" y="-1309"/>
            <a:ext cx="912297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27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</p:spTree>
    <p:extLst>
      <p:ext uri="{BB962C8B-B14F-4D97-AF65-F5344CB8AC3E}">
        <p14:creationId xmlns:p14="http://schemas.microsoft.com/office/powerpoint/2010/main" val="326491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4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</p:spTree>
    <p:extLst>
      <p:ext uri="{BB962C8B-B14F-4D97-AF65-F5344CB8AC3E}">
        <p14:creationId xmlns:p14="http://schemas.microsoft.com/office/powerpoint/2010/main" val="3167081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770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7068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682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2052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615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5697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268C0A-3A3E-43C4-95A1-9D0AAF29545A}" type="datetime1">
              <a:rPr lang="en-US" smtClean="0"/>
              <a:t>10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8179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563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499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184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59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595B5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926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C23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6A9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846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1256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974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178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932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T:\My Pictures\Picture1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</p:spPr>
      </p:pic>
      <p:sp>
        <p:nvSpPr>
          <p:cNvPr id="17" name="object 2"/>
          <p:cNvSpPr txBox="1"/>
          <p:nvPr userDrawn="1"/>
        </p:nvSpPr>
        <p:spPr>
          <a:xfrm>
            <a:off x="11090788" y="6629401"/>
            <a:ext cx="990336" cy="12308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8749"/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VISION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30 </a:t>
            </a:r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©</a:t>
            </a:r>
            <a:r>
              <a:rPr lang="en-US" sz="800" spc="-69">
                <a:solidFill>
                  <a:srgbClr val="798891"/>
                </a:solidFill>
                <a:latin typeface="Arial"/>
                <a:cs typeface="Arial"/>
              </a:rPr>
              <a:t>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16</a:t>
            </a:r>
            <a:endParaRPr lang="en-US" sz="800">
              <a:latin typeface="Arial"/>
              <a:cs typeface="Arial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6683" y="2400238"/>
            <a:ext cx="3059013" cy="205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63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7FF2-03C0-4678-B512-E739BF41ECA6}" type="datetime1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919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</p:spTree>
    <p:extLst>
      <p:ext uri="{BB962C8B-B14F-4D97-AF65-F5344CB8AC3E}">
        <p14:creationId xmlns:p14="http://schemas.microsoft.com/office/powerpoint/2010/main" val="41528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T:\My Pictures\Picture1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</p:spPr>
      </p:pic>
      <p:sp>
        <p:nvSpPr>
          <p:cNvPr id="16" name="Title 4"/>
          <p:cNvSpPr>
            <a:spLocks noGrp="1"/>
          </p:cNvSpPr>
          <p:nvPr>
            <p:ph type="title"/>
          </p:nvPr>
        </p:nvSpPr>
        <p:spPr>
          <a:xfrm>
            <a:off x="5105402" y="3184448"/>
            <a:ext cx="6617072" cy="443070"/>
          </a:xfrm>
          <a:prstGeom prst="rect">
            <a:avLst/>
          </a:prstGeom>
        </p:spPr>
        <p:txBody>
          <a:bodyPr anchor="ctr" anchorCtr="0"/>
          <a:lstStyle>
            <a:lvl1pPr>
              <a:defRPr sz="319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4068765"/>
            <a:ext cx="6616700" cy="960437"/>
          </a:xfrm>
          <a:prstGeom prst="rect">
            <a:avLst/>
          </a:prstGeom>
        </p:spPr>
        <p:txBody>
          <a:bodyPr anchor="ctr" anchorCtr="0"/>
          <a:lstStyle>
            <a:lvl1pPr>
              <a:defRPr sz="23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2"/>
          <p:cNvSpPr txBox="1"/>
          <p:nvPr userDrawn="1"/>
        </p:nvSpPr>
        <p:spPr>
          <a:xfrm>
            <a:off x="11090788" y="6629401"/>
            <a:ext cx="990336" cy="12308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8749"/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VISION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30 </a:t>
            </a:r>
            <a:r>
              <a:rPr lang="en-US" sz="800" spc="10">
                <a:solidFill>
                  <a:srgbClr val="798891"/>
                </a:solidFill>
                <a:latin typeface="Arial"/>
                <a:cs typeface="Arial"/>
              </a:rPr>
              <a:t>©</a:t>
            </a:r>
            <a:r>
              <a:rPr lang="en-US" sz="800" spc="-69">
                <a:solidFill>
                  <a:srgbClr val="798891"/>
                </a:solidFill>
                <a:latin typeface="Arial"/>
                <a:cs typeface="Arial"/>
              </a:rPr>
              <a:t> </a:t>
            </a:r>
            <a:r>
              <a:rPr lang="en-US" sz="800" spc="7">
                <a:solidFill>
                  <a:srgbClr val="798891"/>
                </a:solidFill>
                <a:latin typeface="Arial"/>
                <a:cs typeface="Arial"/>
              </a:rPr>
              <a:t>2016</a:t>
            </a:r>
            <a:endParaRPr lang="en-US" sz="800">
              <a:latin typeface="Arial"/>
              <a:cs typeface="Arial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0734" y="533277"/>
            <a:ext cx="2071740" cy="139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43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1342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76A9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096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6A9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595B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0914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595B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985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358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73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423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998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DEA20-28B2-4882-BC2D-F33D285BD39C}" type="datetime1">
              <a:rPr lang="en-US" smtClean="0"/>
              <a:t>10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- </a:t>
            </a:r>
            <a:r>
              <a:rPr lang="ar-SA"/>
              <a:t>عام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6714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524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706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8272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3853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76A9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237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673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809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245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576A90"/>
            </a:gs>
            <a:gs pos="100000">
              <a:srgbClr val="2C36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chemeClr val="bg1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866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576A90"/>
              </a:gs>
              <a:gs pos="100000">
                <a:srgbClr val="2C364A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CG MCIT - KSA AI High-level Strategy_VisionTemplat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E35493-5705-41FA-BF35-04F8147A6745}"/>
              </a:ext>
            </a:extLst>
          </p:cNvPr>
          <p:cNvSpPr txBox="1"/>
          <p:nvPr userDrawn="1"/>
        </p:nvSpPr>
        <p:spPr>
          <a:xfrm>
            <a:off x="9042010" y="-21066"/>
            <a:ext cx="277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30069"/>
            <a:r>
              <a:rPr lang="en-US" sz="1200" b="1">
                <a:solidFill>
                  <a:srgbClr val="C00000"/>
                </a:solidFill>
                <a:latin typeface="+mj-lt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2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theme" Target="../theme/theme2.xml"/><Relationship Id="rId48" Type="http://schemas.openxmlformats.org/officeDocument/2006/relationships/image" Target="../media/image3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63" Type="http://schemas.openxmlformats.org/officeDocument/2006/relationships/slideLayout" Target="../slideLayouts/slideLayout116.xml"/><Relationship Id="rId68" Type="http://schemas.openxmlformats.org/officeDocument/2006/relationships/tags" Target="../tags/tag51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3" Type="http://schemas.openxmlformats.org/officeDocument/2006/relationships/slideLayout" Target="../slideLayouts/slideLayout106.xml"/><Relationship Id="rId58" Type="http://schemas.openxmlformats.org/officeDocument/2006/relationships/slideLayout" Target="../slideLayouts/slideLayout111.xml"/><Relationship Id="rId6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58.xml"/><Relationship Id="rId61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56" Type="http://schemas.openxmlformats.org/officeDocument/2006/relationships/slideLayout" Target="../slideLayouts/slideLayout109.xml"/><Relationship Id="rId64" Type="http://schemas.openxmlformats.org/officeDocument/2006/relationships/slideLayout" Target="../slideLayouts/slideLayout117.xml"/><Relationship Id="rId69" Type="http://schemas.openxmlformats.org/officeDocument/2006/relationships/oleObject" Target="../embeddings/oleObject10.bin"/><Relationship Id="rId8" Type="http://schemas.openxmlformats.org/officeDocument/2006/relationships/slideLayout" Target="../slideLayouts/slideLayout61.xml"/><Relationship Id="rId51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59" Type="http://schemas.openxmlformats.org/officeDocument/2006/relationships/slideLayout" Target="../slideLayouts/slideLayout112.xml"/><Relationship Id="rId67" Type="http://schemas.openxmlformats.org/officeDocument/2006/relationships/theme" Target="../theme/theme3.xml"/><Relationship Id="rId20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94.xml"/><Relationship Id="rId54" Type="http://schemas.openxmlformats.org/officeDocument/2006/relationships/slideLayout" Target="../slideLayouts/slideLayout107.xml"/><Relationship Id="rId62" Type="http://schemas.openxmlformats.org/officeDocument/2006/relationships/slideLayout" Target="../slideLayouts/slideLayout115.xml"/><Relationship Id="rId70" Type="http://schemas.openxmlformats.org/officeDocument/2006/relationships/image" Target="../media/image3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02.xml"/><Relationship Id="rId57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52" Type="http://schemas.openxmlformats.org/officeDocument/2006/relationships/slideLayout" Target="../slideLayouts/slideLayout105.xml"/><Relationship Id="rId60" Type="http://schemas.openxmlformats.org/officeDocument/2006/relationships/slideLayout" Target="../slideLayouts/slideLayout113.xml"/><Relationship Id="rId65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87.xml"/><Relationship Id="rId50" Type="http://schemas.openxmlformats.org/officeDocument/2006/relationships/slideLayout" Target="../slideLayouts/slideLayout103.xml"/><Relationship Id="rId55" Type="http://schemas.openxmlformats.org/officeDocument/2006/relationships/slideLayout" Target="../slideLayouts/slideLayout10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tags" Target="../tags/tag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D68A6E-DD57-4540-9449-1C6B3942EF91}" type="datetime1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ar-SA" sz="1200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10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612A8A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E90BDE-14E5-4A2F-B526-471F5B15964D}"/>
              </a:ext>
            </a:extLst>
          </p:cNvPr>
          <p:cNvSpPr/>
          <p:nvPr userDrawn="1"/>
        </p:nvSpPr>
        <p:spPr>
          <a:xfrm>
            <a:off x="0" y="-1"/>
            <a:ext cx="12192000" cy="178647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10000"/>
                </a:schemeClr>
              </a:gs>
              <a:gs pos="100000">
                <a:schemeClr val="accent6">
                  <a:lumMod val="25000"/>
                </a:schemeClr>
              </a:gs>
            </a:gsLst>
            <a:lin ang="108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4DD317-0C66-4C49-BFCF-23B0BF10F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rot="16200000" flipV="1">
            <a:off x="5887526" y="-4518001"/>
            <a:ext cx="416951" cy="1219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2C3CBA6-6F74-4FDB-95E8-B8C1D4472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07" r="26588" b="52854"/>
          <a:stretch/>
        </p:blipFill>
        <p:spPr>
          <a:xfrm>
            <a:off x="8768001" y="-2"/>
            <a:ext cx="3423999" cy="17864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729EF5-6475-43D3-BC2E-AF72F0DFC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253" r="26588" b="11208"/>
          <a:stretch/>
        </p:blipFill>
        <p:spPr>
          <a:xfrm flipH="1" flipV="1">
            <a:off x="-2" y="-2"/>
            <a:ext cx="3423999" cy="1786475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8679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583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200" y="699336"/>
            <a:ext cx="11278950" cy="3877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lvl="0" indent="0">
              <a:spcAft>
                <a:spcPts val="0"/>
              </a:spcAft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6854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0" i="0" u="none" kern="1200" spc="0" dirty="0">
          <a:solidFill>
            <a:schemeClr val="bg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•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76A90"/>
        </a:buClr>
        <a:buFont typeface="Trebuchet MS" panose="020B0603020202020204" pitchFamily="34" charset="0"/>
        <a:buChar char="–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600" kern="120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600" b="1" kern="120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76A90"/>
        </a:buClr>
        <a:buFont typeface="Arial" panose="020B0604020202020204" pitchFamily="34" charset="0"/>
        <a:buChar char="•"/>
        <a:defRPr lang="en-US" sz="1600" kern="120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76A9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76A9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76A9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0">
          <p15:clr>
            <a:srgbClr val="F26B43"/>
          </p15:clr>
        </p15:guide>
        <p15:guide id="2" pos="288">
          <p15:clr>
            <a:srgbClr val="F26B43"/>
          </p15:clr>
        </p15:guide>
        <p15:guide id="3" pos="7396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749851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  <p:sldLayoutId id="2147483739" r:id="rId34"/>
    <p:sldLayoutId id="2147483740" r:id="rId35"/>
    <p:sldLayoutId id="2147483741" r:id="rId36"/>
    <p:sldLayoutId id="2147483742" r:id="rId37"/>
    <p:sldLayoutId id="2147483743" r:id="rId38"/>
    <p:sldLayoutId id="2147483744" r:id="rId39"/>
    <p:sldLayoutId id="2147483745" r:id="rId40"/>
    <p:sldLayoutId id="2147483746" r:id="rId41"/>
    <p:sldLayoutId id="2147483747" r:id="rId42"/>
    <p:sldLayoutId id="2147483748" r:id="rId43"/>
    <p:sldLayoutId id="2147483749" r:id="rId44"/>
    <p:sldLayoutId id="2147483750" r:id="rId45"/>
    <p:sldLayoutId id="2147483751" r:id="rId46"/>
    <p:sldLayoutId id="2147483752" r:id="rId47"/>
    <p:sldLayoutId id="2147483753" r:id="rId48"/>
    <p:sldLayoutId id="2147483754" r:id="rId49"/>
    <p:sldLayoutId id="2147483755" r:id="rId50"/>
    <p:sldLayoutId id="2147483756" r:id="rId51"/>
    <p:sldLayoutId id="2147483757" r:id="rId52"/>
    <p:sldLayoutId id="2147483758" r:id="rId53"/>
    <p:sldLayoutId id="2147483759" r:id="rId54"/>
    <p:sldLayoutId id="2147483760" r:id="rId55"/>
    <p:sldLayoutId id="2147483761" r:id="rId56"/>
    <p:sldLayoutId id="2147483762" r:id="rId57"/>
    <p:sldLayoutId id="2147483763" r:id="rId58"/>
    <p:sldLayoutId id="2147483764" r:id="rId59"/>
    <p:sldLayoutId id="2147483765" r:id="rId60"/>
    <p:sldLayoutId id="2147483766" r:id="rId61"/>
    <p:sldLayoutId id="2147483767" r:id="rId62"/>
    <p:sldLayoutId id="2147483768" r:id="rId63"/>
    <p:sldLayoutId id="2147483769" r:id="rId64"/>
    <p:sldLayoutId id="2147483770" r:id="rId65"/>
    <p:sldLayoutId id="2147483771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76A9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•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76A90"/>
        </a:buClr>
        <a:buFont typeface="Trebuchet MS" panose="020B0603020202020204" pitchFamily="34" charset="0"/>
        <a:buChar char="–"/>
        <a:defRPr lang="en-US" sz="1200" kern="120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600" kern="120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76A90"/>
        </a:buClr>
        <a:buFont typeface="Arial" panose="020B0604020202020204" pitchFamily="34" charset="0"/>
        <a:buChar char="​"/>
        <a:defRPr lang="en-US" sz="1600" b="1" kern="120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76A90"/>
        </a:buClr>
        <a:buFont typeface="Arial" panose="020B0604020202020204" pitchFamily="34" charset="0"/>
        <a:buChar char="•"/>
        <a:defRPr lang="en-US" sz="1600" kern="120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76A9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80808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76A9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76A9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76A9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1DEED3-82D1-45BB-B30A-AFC96A03F19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ar-SA" sz="1200" b="1" i="0" u="none">
                <a:solidFill>
                  <a:srgbClr val="30AC54"/>
                </a:solidFill>
              </a:defRPr>
            </a:lvl1pPr>
          </a:lstStyle>
          <a:p>
            <a:r>
              <a:rPr lang="en-US"/>
              <a:t>Public - </a:t>
            </a:r>
            <a:r>
              <a:rPr lang="ar-SA"/>
              <a:t>عام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8B45F-2750-4785-822C-8A084A2F7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129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612A8A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26" Type="http://schemas.openxmlformats.org/officeDocument/2006/relationships/chart" Target="../charts/chart1.xml"/><Relationship Id="rId3" Type="http://schemas.openxmlformats.org/officeDocument/2006/relationships/image" Target="../media/image20.png"/><Relationship Id="rId21" Type="http://schemas.openxmlformats.org/officeDocument/2006/relationships/image" Target="../media/image68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5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24" Type="http://schemas.openxmlformats.org/officeDocument/2006/relationships/image" Target="../media/image33.png"/><Relationship Id="rId5" Type="http://schemas.openxmlformats.org/officeDocument/2006/relationships/image" Target="../media/image52.png"/><Relationship Id="rId15" Type="http://schemas.openxmlformats.org/officeDocument/2006/relationships/image" Target="../media/image62.jpeg"/><Relationship Id="rId23" Type="http://schemas.openxmlformats.org/officeDocument/2006/relationships/image" Target="../media/image70.png"/><Relationship Id="rId10" Type="http://schemas.openxmlformats.org/officeDocument/2006/relationships/image" Target="../media/image57.png"/><Relationship Id="rId19" Type="http://schemas.openxmlformats.org/officeDocument/2006/relationships/image" Target="../media/image66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1.png"/><Relationship Id="rId22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80.png"/><Relationship Id="rId18" Type="http://schemas.openxmlformats.org/officeDocument/2006/relationships/image" Target="../media/image67.png"/><Relationship Id="rId3" Type="http://schemas.openxmlformats.org/officeDocument/2006/relationships/image" Target="../media/image71.png"/><Relationship Id="rId21" Type="http://schemas.openxmlformats.org/officeDocument/2006/relationships/image" Target="../media/image33.png"/><Relationship Id="rId7" Type="http://schemas.openxmlformats.org/officeDocument/2006/relationships/image" Target="../media/image75.png"/><Relationship Id="rId12" Type="http://schemas.openxmlformats.org/officeDocument/2006/relationships/image" Target="../media/image79.jpeg"/><Relationship Id="rId17" Type="http://schemas.openxmlformats.org/officeDocument/2006/relationships/image" Target="../media/image84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83.png"/><Relationship Id="rId20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11" Type="http://schemas.openxmlformats.org/officeDocument/2006/relationships/image" Target="../media/image78.png"/><Relationship Id="rId24" Type="http://schemas.openxmlformats.org/officeDocument/2006/relationships/image" Target="../media/image85.png"/><Relationship Id="rId5" Type="http://schemas.openxmlformats.org/officeDocument/2006/relationships/image" Target="../media/image73.png"/><Relationship Id="rId15" Type="http://schemas.openxmlformats.org/officeDocument/2006/relationships/image" Target="../media/image82.png"/><Relationship Id="rId23" Type="http://schemas.openxmlformats.org/officeDocument/2006/relationships/image" Target="../media/image48.png"/><Relationship Id="rId10" Type="http://schemas.openxmlformats.org/officeDocument/2006/relationships/image" Target="../media/image77.jpeg"/><Relationship Id="rId19" Type="http://schemas.openxmlformats.org/officeDocument/2006/relationships/image" Target="../media/image69.png"/><Relationship Id="rId4" Type="http://schemas.openxmlformats.org/officeDocument/2006/relationships/image" Target="../media/image72.png"/><Relationship Id="rId9" Type="http://schemas.openxmlformats.org/officeDocument/2006/relationships/image" Target="../media/image76.png"/><Relationship Id="rId14" Type="http://schemas.openxmlformats.org/officeDocument/2006/relationships/image" Target="../media/image81.png"/><Relationship Id="rId22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png"/><Relationship Id="rId4" Type="http://schemas.openxmlformats.org/officeDocument/2006/relationships/hyperlink" Target="mailto:support@saix.sa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5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11" Type="http://schemas.openxmlformats.org/officeDocument/2006/relationships/image" Target="../media/image28.png"/><Relationship Id="rId5" Type="http://schemas.openxmlformats.org/officeDocument/2006/relationships/image" Target="../media/image23.png"/><Relationship Id="rId15" Type="http://schemas.openxmlformats.org/officeDocument/2006/relationships/image" Target="../media/image32.png"/><Relationship Id="rId10" Type="http://schemas.microsoft.com/office/2007/relationships/hdphoto" Target="../media/hdphoto1.wdp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20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0.png"/><Relationship Id="rId7" Type="http://schemas.openxmlformats.org/officeDocument/2006/relationships/image" Target="../media/image4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1FAC83"/>
            </a:gs>
            <a:gs pos="83000">
              <a:srgbClr val="175A8B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771744" y="2441643"/>
            <a:ext cx="0" cy="226654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214AB6E7-3491-44C1-88CD-0251F8B1FF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2764798"/>
            <a:ext cx="3516876" cy="135117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F80B33-DDA8-4798-A255-E4B7971F9702}"/>
              </a:ext>
            </a:extLst>
          </p:cNvPr>
          <p:cNvSpPr txBox="1"/>
          <p:nvPr/>
        </p:nvSpPr>
        <p:spPr>
          <a:xfrm>
            <a:off x="5112213" y="2764798"/>
            <a:ext cx="69559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SAIX Journey in re-shaping the Saudi ecosystem </a:t>
            </a:r>
          </a:p>
        </p:txBody>
      </p:sp>
    </p:spTree>
    <p:extLst>
      <p:ext uri="{BB962C8B-B14F-4D97-AF65-F5344CB8AC3E}">
        <p14:creationId xmlns:p14="http://schemas.microsoft.com/office/powerpoint/2010/main" val="940784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5869E2-3FE5-8CEB-3658-7B7FA3E20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DF12F5-A6B7-0E67-AEEE-ECBB8A1C7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1A1DB6F6-4DD6-468B-9576-226DE26B8661}"/>
              </a:ext>
            </a:extLst>
          </p:cNvPr>
          <p:cNvSpPr/>
          <p:nvPr/>
        </p:nvSpPr>
        <p:spPr>
          <a:xfrm>
            <a:off x="0" y="4107051"/>
            <a:ext cx="9639946" cy="1673817"/>
          </a:xfrm>
          <a:prstGeom prst="rect">
            <a:avLst/>
          </a:prstGeom>
          <a:solidFill>
            <a:srgbClr val="185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90000"/>
              </a:lnSpc>
              <a:spcBef>
                <a:spcPts val="100"/>
              </a:spcBef>
              <a:tabLst>
                <a:tab pos="299720" algn="l"/>
              </a:tabLst>
              <a:defRPr/>
            </a:pPr>
            <a:r>
              <a:rPr lang="en-US" sz="6600" spc="-10" dirty="0">
                <a:solidFill>
                  <a:schemeClr val="bg1"/>
                </a:solidFill>
                <a:cs typeface="Calibri"/>
              </a:rPr>
              <a:t>What has been achieved!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43E1D5-C983-4AF2-8EA4-15F108163F59}"/>
              </a:ext>
            </a:extLst>
          </p:cNvPr>
          <p:cNvSpPr/>
          <p:nvPr/>
        </p:nvSpPr>
        <p:spPr>
          <a:xfrm>
            <a:off x="9841424" y="4107050"/>
            <a:ext cx="2350576" cy="1673817"/>
          </a:xfrm>
          <a:prstGeom prst="rect">
            <a:avLst/>
          </a:prstGeom>
          <a:solidFill>
            <a:srgbClr val="1998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1175"/>
            <a:endParaRPr lang="en-US" sz="6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A8D5E25-E568-4538-98F3-17C65D3AF3D4}"/>
              </a:ext>
            </a:extLst>
          </p:cNvPr>
          <p:cNvGrpSpPr/>
          <p:nvPr/>
        </p:nvGrpSpPr>
        <p:grpSpPr>
          <a:xfrm>
            <a:off x="6224800" y="-86622"/>
            <a:ext cx="6010060" cy="7026997"/>
            <a:chOff x="816464" y="1578757"/>
            <a:chExt cx="6010060" cy="7026997"/>
          </a:xfrm>
          <a:solidFill>
            <a:srgbClr val="606060"/>
          </a:solidFill>
          <a:effectLst/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7FD5354-AFE1-44A1-90F0-6AD97EA1460A}"/>
                </a:ext>
              </a:extLst>
            </p:cNvPr>
            <p:cNvGrpSpPr/>
            <p:nvPr/>
          </p:nvGrpSpPr>
          <p:grpSpPr>
            <a:xfrm>
              <a:off x="1110603" y="1578757"/>
              <a:ext cx="5715921" cy="7026997"/>
              <a:chOff x="6266581" y="2948793"/>
              <a:chExt cx="575387" cy="707365"/>
            </a:xfrm>
            <a:grpFill/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BC03C50F-254F-451C-8531-E19AD0CE58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47673" y="2948793"/>
                <a:ext cx="446314" cy="707365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20BC404C-7989-4B06-97D3-7909A82E420D}"/>
                  </a:ext>
                </a:extLst>
              </p:cNvPr>
              <p:cNvCxnSpPr/>
              <p:nvPr/>
            </p:nvCxnSpPr>
            <p:spPr>
              <a:xfrm flipH="1">
                <a:off x="6362700" y="2955986"/>
                <a:ext cx="92043" cy="425389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AF4EA65-A2BA-4A0C-8D4C-739A588B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6581" y="3153663"/>
                <a:ext cx="571073" cy="257698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3372C86B-E11F-4B0E-B542-F7408F7A3F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510338" y="3138700"/>
                <a:ext cx="247539" cy="47365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E97D14F-9EDC-497E-9D06-3B843732AA2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07956" y="3327487"/>
                <a:ext cx="334012" cy="287251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6403B24-248B-466A-B847-B094EFEC185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398894" y="3130397"/>
                <a:ext cx="443074" cy="8520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A85F04F-1B33-4CB6-8810-FF0F88A1DA55}"/>
                </a:ext>
              </a:extLst>
            </p:cNvPr>
            <p:cNvGrpSpPr/>
            <p:nvPr/>
          </p:nvGrpSpPr>
          <p:grpSpPr>
            <a:xfrm>
              <a:off x="816464" y="1785380"/>
              <a:ext cx="5412346" cy="6520420"/>
              <a:chOff x="6236972" y="2969593"/>
              <a:chExt cx="544828" cy="656371"/>
            </a:xfrm>
            <a:grpFill/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F50F7111-D61E-4DCC-85C2-A9FCD8B78926}"/>
                  </a:ext>
                </a:extLst>
              </p:cNvPr>
              <p:cNvSpPr/>
              <p:nvPr/>
            </p:nvSpPr>
            <p:spPr>
              <a:xfrm>
                <a:off x="6405562" y="305157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BD15B17-98A6-4573-B581-C5C4C6D100CB}"/>
                  </a:ext>
                </a:extLst>
              </p:cNvPr>
              <p:cNvSpPr/>
              <p:nvPr/>
            </p:nvSpPr>
            <p:spPr>
              <a:xfrm>
                <a:off x="6336441" y="3342283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81ABFDD-BDDE-41D0-AF84-7444BE7783B1}"/>
                  </a:ext>
                </a:extLst>
              </p:cNvPr>
              <p:cNvSpPr/>
              <p:nvPr/>
            </p:nvSpPr>
            <p:spPr>
              <a:xfrm>
                <a:off x="6540103" y="325874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1D7BD66A-2ED0-42A9-9802-E906418922DD}"/>
                  </a:ext>
                </a:extLst>
              </p:cNvPr>
              <p:cNvSpPr/>
              <p:nvPr/>
            </p:nvSpPr>
            <p:spPr>
              <a:xfrm>
                <a:off x="6727031" y="3124880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C30CD0E6-4F98-47CA-A056-BB62B3BEAA47}"/>
                  </a:ext>
                </a:extLst>
              </p:cNvPr>
              <p:cNvSpPr/>
              <p:nvPr/>
            </p:nvSpPr>
            <p:spPr>
              <a:xfrm>
                <a:off x="6380321" y="3196351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26161CE-0448-4039-A3A5-0B32E77DC47B}"/>
                  </a:ext>
                </a:extLst>
              </p:cNvPr>
              <p:cNvSpPr/>
              <p:nvPr/>
            </p:nvSpPr>
            <p:spPr>
              <a:xfrm>
                <a:off x="6658928" y="3449449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8743ECA-8891-4680-B3F9-AAC7D1C457F2}"/>
                  </a:ext>
                </a:extLst>
              </p:cNvPr>
              <p:cNvSpPr/>
              <p:nvPr/>
            </p:nvSpPr>
            <p:spPr>
              <a:xfrm>
                <a:off x="6492477" y="3571195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89F82E9-4E56-4557-BD54-1A6A19167453}"/>
                  </a:ext>
                </a:extLst>
              </p:cNvPr>
              <p:cNvSpPr/>
              <p:nvPr/>
            </p:nvSpPr>
            <p:spPr>
              <a:xfrm>
                <a:off x="6236972" y="3129472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EC3DACF-6D4E-47B2-8550-7F8F0576A435}"/>
                  </a:ext>
                </a:extLst>
              </p:cNvPr>
              <p:cNvSpPr/>
              <p:nvPr/>
            </p:nvSpPr>
            <p:spPr>
              <a:xfrm>
                <a:off x="6353175" y="2969593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470D27F7-00E5-4BE0-A8C9-6F56AE8EED46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3F84406-F529-4ED0-8FAA-8067E603BA25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809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334EE6-C1EE-3CB3-B019-5501566E4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85250" y="6750620"/>
            <a:ext cx="2743200" cy="365125"/>
          </a:xfrm>
        </p:spPr>
        <p:txBody>
          <a:bodyPr/>
          <a:lstStyle/>
          <a:p>
            <a:fld id="{82D8B45F-2750-4785-822C-8A084A2F785F}" type="slidenum">
              <a:rPr lang="en-US" smtClean="0"/>
              <a:t>1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005841-5E0A-4D28-4679-D10BDEC6DF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146" name="Title 7">
            <a:extLst>
              <a:ext uri="{FF2B5EF4-FFF2-40B4-BE49-F238E27FC236}">
                <a16:creationId xmlns:a16="http://schemas.microsoft.com/office/drawing/2014/main" id="{AF208D35-5621-483A-9FD8-E2E718486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11" y="309934"/>
            <a:ext cx="6476716" cy="646331"/>
          </a:xfrm>
        </p:spPr>
        <p:txBody>
          <a:bodyPr>
            <a:normAutofit/>
          </a:bodyPr>
          <a:lstStyle/>
          <a:p>
            <a:r>
              <a:rPr lang="en-US" sz="3600" b="1" dirty="0"/>
              <a:t>Historical figures</a:t>
            </a:r>
          </a:p>
        </p:txBody>
      </p: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43D4D779-AB83-4B98-98BD-C10F9A0B19FF}"/>
              </a:ext>
            </a:extLst>
          </p:cNvPr>
          <p:cNvCxnSpPr>
            <a:cxnSpLocks/>
          </p:cNvCxnSpPr>
          <p:nvPr/>
        </p:nvCxnSpPr>
        <p:spPr>
          <a:xfrm flipH="1">
            <a:off x="498481" y="2196866"/>
            <a:ext cx="10789920" cy="0"/>
          </a:xfrm>
          <a:prstGeom prst="line">
            <a:avLst/>
          </a:prstGeom>
          <a:ln w="57150" cap="rnd" cmpd="sng" algn="ctr">
            <a:solidFill>
              <a:srgbClr val="3B729E"/>
            </a:solidFill>
            <a:prstDash val="solid"/>
            <a:round/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E5A4F8FE-AC37-4E76-AB98-1A4503B6E36B}"/>
              </a:ext>
            </a:extLst>
          </p:cNvPr>
          <p:cNvCxnSpPr/>
          <p:nvPr/>
        </p:nvCxnSpPr>
        <p:spPr>
          <a:xfrm>
            <a:off x="1453265" y="3014128"/>
            <a:ext cx="9811634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A4203ECF-38B3-4B5A-B7CB-3C75D18A1F4D}"/>
              </a:ext>
            </a:extLst>
          </p:cNvPr>
          <p:cNvCxnSpPr/>
          <p:nvPr/>
        </p:nvCxnSpPr>
        <p:spPr>
          <a:xfrm>
            <a:off x="1453265" y="3572572"/>
            <a:ext cx="9811634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EEC8A216-230D-4006-87A0-6DCA39C83569}"/>
              </a:ext>
            </a:extLst>
          </p:cNvPr>
          <p:cNvCxnSpPr/>
          <p:nvPr/>
        </p:nvCxnSpPr>
        <p:spPr>
          <a:xfrm>
            <a:off x="1453265" y="4191976"/>
            <a:ext cx="9811634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FE0E4B73-9D79-42B9-A414-8C16621F0876}"/>
              </a:ext>
            </a:extLst>
          </p:cNvPr>
          <p:cNvCxnSpPr/>
          <p:nvPr/>
        </p:nvCxnSpPr>
        <p:spPr>
          <a:xfrm>
            <a:off x="1453265" y="4896851"/>
            <a:ext cx="9811634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6CE3D08-C184-481A-8A4B-9C2D73CC83BB}"/>
              </a:ext>
            </a:extLst>
          </p:cNvPr>
          <p:cNvCxnSpPr>
            <a:cxnSpLocks/>
          </p:cNvCxnSpPr>
          <p:nvPr/>
        </p:nvCxnSpPr>
        <p:spPr>
          <a:xfrm flipV="1">
            <a:off x="354582" y="2325454"/>
            <a:ext cx="0" cy="3125152"/>
          </a:xfrm>
          <a:prstGeom prst="line">
            <a:avLst/>
          </a:prstGeom>
          <a:ln w="19050" cap="rnd">
            <a:solidFill>
              <a:srgbClr val="4F6186"/>
            </a:solidFill>
            <a:prstDash val="solid"/>
            <a:round/>
            <a:head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0E0862B6-3EEF-4A92-A690-5AA973090647}"/>
              </a:ext>
            </a:extLst>
          </p:cNvPr>
          <p:cNvGrpSpPr/>
          <p:nvPr/>
        </p:nvGrpSpPr>
        <p:grpSpPr>
          <a:xfrm>
            <a:off x="5029201" y="1451026"/>
            <a:ext cx="6254747" cy="3260670"/>
            <a:chOff x="3748221" y="1451026"/>
            <a:chExt cx="7535728" cy="3260670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B075BF2-2209-4840-87FD-EC339BA91249}"/>
                </a:ext>
              </a:extLst>
            </p:cNvPr>
            <p:cNvSpPr txBox="1"/>
            <p:nvPr/>
          </p:nvSpPr>
          <p:spPr>
            <a:xfrm>
              <a:off x="3748221" y="1451026"/>
              <a:ext cx="2264906" cy="287070"/>
            </a:xfrm>
            <a:prstGeom prst="round1Rect">
              <a:avLst/>
            </a:prstGeom>
            <a:solidFill>
              <a:srgbClr val="19678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0"/>
                </a:spcBef>
              </a:pPr>
              <a:endParaRPr lang="en-US" sz="1600" b="1" spc="-25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02E5BF0B-064A-4341-8148-479AB8EA8482}"/>
                </a:ext>
              </a:extLst>
            </p:cNvPr>
            <p:cNvSpPr txBox="1"/>
            <p:nvPr/>
          </p:nvSpPr>
          <p:spPr>
            <a:xfrm>
              <a:off x="9019043" y="1451026"/>
              <a:ext cx="2264906" cy="287070"/>
            </a:xfrm>
            <a:prstGeom prst="round1Rect">
              <a:avLst/>
            </a:prstGeom>
            <a:solidFill>
              <a:srgbClr val="19678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0"/>
                </a:spcBef>
              </a:pPr>
              <a:endParaRPr lang="en-US" sz="1600" b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8EF066DD-4A51-40C2-B55F-DF40E926EC3C}"/>
                </a:ext>
              </a:extLst>
            </p:cNvPr>
            <p:cNvSpPr txBox="1"/>
            <p:nvPr/>
          </p:nvSpPr>
          <p:spPr>
            <a:xfrm>
              <a:off x="3748221" y="1506444"/>
              <a:ext cx="2264906" cy="287070"/>
            </a:xfrm>
            <a:prstGeom prst="round1Rect">
              <a:avLst/>
            </a:prstGeom>
            <a:solidFill>
              <a:srgbClr val="20A68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0"/>
                </a:spcBef>
              </a:pPr>
              <a:r>
                <a:rPr lang="en-US" sz="1600" b="1" spc="-40" dirty="0">
                  <a:solidFill>
                    <a:srgbClr val="FFFFFF"/>
                  </a:solidFill>
                  <a:cs typeface="Arial"/>
                </a:rPr>
                <a:t>2019</a:t>
              </a:r>
              <a:endParaRPr lang="en-US" sz="1600" b="1" spc="-25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1D3E820-3417-4D21-AA37-42ECDAC93E2E}"/>
                </a:ext>
              </a:extLst>
            </p:cNvPr>
            <p:cNvSpPr txBox="1"/>
            <p:nvPr/>
          </p:nvSpPr>
          <p:spPr>
            <a:xfrm>
              <a:off x="9019043" y="1506444"/>
              <a:ext cx="2264906" cy="287070"/>
            </a:xfrm>
            <a:prstGeom prst="round1Rect">
              <a:avLst/>
            </a:prstGeom>
            <a:solidFill>
              <a:srgbClr val="20A68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0"/>
                </a:spcBef>
              </a:pPr>
              <a:r>
                <a:rPr lang="en-US" sz="1600" b="1" spc="-40" dirty="0">
                  <a:solidFill>
                    <a:srgbClr val="FFFFFF"/>
                  </a:solidFill>
                  <a:cs typeface="Arial"/>
                </a:rPr>
                <a:t>2022</a:t>
              </a:r>
              <a:endParaRPr lang="en-US" sz="1600" b="1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6351467A-3A8E-4AF1-8338-CC95CEA3BFED}"/>
                </a:ext>
              </a:extLst>
            </p:cNvPr>
            <p:cNvSpPr txBox="1"/>
            <p:nvPr/>
          </p:nvSpPr>
          <p:spPr>
            <a:xfrm>
              <a:off x="6383633" y="1462460"/>
              <a:ext cx="2264904" cy="287070"/>
            </a:xfrm>
            <a:prstGeom prst="round1Rect">
              <a:avLst/>
            </a:prstGeom>
            <a:solidFill>
              <a:srgbClr val="19678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635" algn="ctr">
                <a:lnSpc>
                  <a:spcPct val="100000"/>
                </a:lnSpc>
                <a:spcBef>
                  <a:spcPts val="90"/>
                </a:spcBef>
              </a:pPr>
              <a:endParaRPr lang="en-US" sz="1600" b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67FC01E4-FEC0-460D-83B5-AE3C5C2D4F39}"/>
                </a:ext>
              </a:extLst>
            </p:cNvPr>
            <p:cNvSpPr txBox="1"/>
            <p:nvPr/>
          </p:nvSpPr>
          <p:spPr>
            <a:xfrm>
              <a:off x="6383633" y="1517878"/>
              <a:ext cx="2264904" cy="287070"/>
            </a:xfrm>
            <a:prstGeom prst="round1Rect">
              <a:avLst/>
            </a:prstGeom>
            <a:solidFill>
              <a:srgbClr val="20A68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ctr">
              <a:noAutofit/>
            </a:bodyPr>
            <a:lstStyle/>
            <a:p>
              <a:pPr marL="635" algn="ctr">
                <a:lnSpc>
                  <a:spcPct val="100000"/>
                </a:lnSpc>
                <a:spcBef>
                  <a:spcPts val="90"/>
                </a:spcBef>
              </a:pPr>
              <a:r>
                <a:rPr lang="en-US" sz="1600" b="1" spc="-40" dirty="0">
                  <a:solidFill>
                    <a:srgbClr val="FFFFFF"/>
                  </a:solidFill>
                  <a:cs typeface="Arial"/>
                </a:rPr>
                <a:t>2021</a:t>
              </a:r>
              <a:endParaRPr lang="en-US" sz="1600" b="1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40" name="object 40">
              <a:extLst>
                <a:ext uri="{FF2B5EF4-FFF2-40B4-BE49-F238E27FC236}">
                  <a16:creationId xmlns:a16="http://schemas.microsoft.com/office/drawing/2014/main" id="{EF168B04-1BDD-4A00-B251-D5FED00543C5}"/>
                </a:ext>
              </a:extLst>
            </p:cNvPr>
            <p:cNvSpPr txBox="1"/>
            <p:nvPr/>
          </p:nvSpPr>
          <p:spPr>
            <a:xfrm>
              <a:off x="3748221" y="2502742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28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141" name="object 40">
              <a:extLst>
                <a:ext uri="{FF2B5EF4-FFF2-40B4-BE49-F238E27FC236}">
                  <a16:creationId xmlns:a16="http://schemas.microsoft.com/office/drawing/2014/main" id="{E577DB4C-B701-4F76-A667-E7BB69D883E7}"/>
                </a:ext>
              </a:extLst>
            </p:cNvPr>
            <p:cNvSpPr txBox="1"/>
            <p:nvPr/>
          </p:nvSpPr>
          <p:spPr>
            <a:xfrm>
              <a:off x="3748221" y="3061186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6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142" name="object 40">
              <a:extLst>
                <a:ext uri="{FF2B5EF4-FFF2-40B4-BE49-F238E27FC236}">
                  <a16:creationId xmlns:a16="http://schemas.microsoft.com/office/drawing/2014/main" id="{04189318-1F08-47A7-9858-069529AAFA57}"/>
                </a:ext>
              </a:extLst>
            </p:cNvPr>
            <p:cNvSpPr txBox="1"/>
            <p:nvPr/>
          </p:nvSpPr>
          <p:spPr>
            <a:xfrm>
              <a:off x="3748221" y="3619629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24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145" name="object 40">
              <a:extLst>
                <a:ext uri="{FF2B5EF4-FFF2-40B4-BE49-F238E27FC236}">
                  <a16:creationId xmlns:a16="http://schemas.microsoft.com/office/drawing/2014/main" id="{50173202-D308-4F7C-90B8-9AF3968D2496}"/>
                </a:ext>
              </a:extLst>
            </p:cNvPr>
            <p:cNvSpPr txBox="1"/>
            <p:nvPr/>
          </p:nvSpPr>
          <p:spPr>
            <a:xfrm>
              <a:off x="3748221" y="4228873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40</a:t>
              </a:r>
            </a:p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baseline="30000" dirty="0">
                  <a:latin typeface="29LT Bukra" pitchFamily="34" charset="-78"/>
                  <a:cs typeface="29LT Bukra" pitchFamily="34" charset="-78"/>
                </a:rPr>
                <a:t>Gbps</a:t>
              </a:r>
              <a:endParaRPr lang="en-US" sz="1600" b="1" baseline="30000" dirty="0">
                <a:cs typeface="Arial"/>
              </a:endParaRPr>
            </a:p>
          </p:txBody>
        </p:sp>
        <p:sp>
          <p:nvSpPr>
            <p:cNvPr id="147" name="object 40">
              <a:extLst>
                <a:ext uri="{FF2B5EF4-FFF2-40B4-BE49-F238E27FC236}">
                  <a16:creationId xmlns:a16="http://schemas.microsoft.com/office/drawing/2014/main" id="{F8227A79-61FE-4386-9B31-A5CC4C7291B1}"/>
                </a:ext>
              </a:extLst>
            </p:cNvPr>
            <p:cNvSpPr txBox="1"/>
            <p:nvPr/>
          </p:nvSpPr>
          <p:spPr>
            <a:xfrm>
              <a:off x="9019043" y="2502742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60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148" name="object 40">
              <a:extLst>
                <a:ext uri="{FF2B5EF4-FFF2-40B4-BE49-F238E27FC236}">
                  <a16:creationId xmlns:a16="http://schemas.microsoft.com/office/drawing/2014/main" id="{54FC273C-0ED3-4C03-92EB-56FCCA78D96E}"/>
                </a:ext>
              </a:extLst>
            </p:cNvPr>
            <p:cNvSpPr txBox="1"/>
            <p:nvPr/>
          </p:nvSpPr>
          <p:spPr>
            <a:xfrm>
              <a:off x="9019043" y="3061186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9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149" name="object 40">
              <a:extLst>
                <a:ext uri="{FF2B5EF4-FFF2-40B4-BE49-F238E27FC236}">
                  <a16:creationId xmlns:a16="http://schemas.microsoft.com/office/drawing/2014/main" id="{D95AF53B-37FE-48FA-8992-6F9A0CBA8411}"/>
                </a:ext>
              </a:extLst>
            </p:cNvPr>
            <p:cNvSpPr txBox="1"/>
            <p:nvPr/>
          </p:nvSpPr>
          <p:spPr>
            <a:xfrm>
              <a:off x="9019043" y="3619629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72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222" name="object 40">
              <a:extLst>
                <a:ext uri="{FF2B5EF4-FFF2-40B4-BE49-F238E27FC236}">
                  <a16:creationId xmlns:a16="http://schemas.microsoft.com/office/drawing/2014/main" id="{8B47E6A5-E942-44EC-B845-EE3629332E6A}"/>
                </a:ext>
              </a:extLst>
            </p:cNvPr>
            <p:cNvSpPr txBox="1"/>
            <p:nvPr/>
          </p:nvSpPr>
          <p:spPr>
            <a:xfrm>
              <a:off x="9019043" y="4228873"/>
              <a:ext cx="2264906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.1</a:t>
              </a:r>
            </a:p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baseline="30000" dirty="0" err="1">
                  <a:latin typeface="29LT Bukra" pitchFamily="34" charset="-78"/>
                  <a:cs typeface="29LT Bukra" pitchFamily="34" charset="-78"/>
                </a:rPr>
                <a:t>Tbps</a:t>
              </a:r>
              <a:endParaRPr lang="en-US" sz="1600" b="1" baseline="30000" dirty="0">
                <a:cs typeface="Arial"/>
              </a:endParaRPr>
            </a:p>
          </p:txBody>
        </p:sp>
        <p:sp>
          <p:nvSpPr>
            <p:cNvPr id="235" name="object 40">
              <a:extLst>
                <a:ext uri="{FF2B5EF4-FFF2-40B4-BE49-F238E27FC236}">
                  <a16:creationId xmlns:a16="http://schemas.microsoft.com/office/drawing/2014/main" id="{1D06D0B6-EBAB-4C61-8765-6F4D20D26605}"/>
                </a:ext>
              </a:extLst>
            </p:cNvPr>
            <p:cNvSpPr txBox="1"/>
            <p:nvPr/>
          </p:nvSpPr>
          <p:spPr>
            <a:xfrm>
              <a:off x="6383632" y="2521236"/>
              <a:ext cx="2264904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00</a:t>
              </a:r>
              <a:endParaRPr lang="en-US" sz="1600" b="1" baseline="30000" dirty="0">
                <a:latin typeface="Arial"/>
                <a:cs typeface="Arial"/>
              </a:endParaRPr>
            </a:p>
          </p:txBody>
        </p:sp>
        <p:sp>
          <p:nvSpPr>
            <p:cNvPr id="236" name="object 40">
              <a:extLst>
                <a:ext uri="{FF2B5EF4-FFF2-40B4-BE49-F238E27FC236}">
                  <a16:creationId xmlns:a16="http://schemas.microsoft.com/office/drawing/2014/main" id="{41E3C128-2848-4E90-AD23-7B23432F026F}"/>
                </a:ext>
              </a:extLst>
            </p:cNvPr>
            <p:cNvSpPr txBox="1"/>
            <p:nvPr/>
          </p:nvSpPr>
          <p:spPr>
            <a:xfrm>
              <a:off x="6383632" y="3079680"/>
              <a:ext cx="2264904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2</a:t>
              </a:r>
              <a:endParaRPr sz="1600" b="1" baseline="30000" dirty="0">
                <a:cs typeface="Arial"/>
              </a:endParaRPr>
            </a:p>
          </p:txBody>
        </p:sp>
        <p:sp>
          <p:nvSpPr>
            <p:cNvPr id="237" name="object 40">
              <a:extLst>
                <a:ext uri="{FF2B5EF4-FFF2-40B4-BE49-F238E27FC236}">
                  <a16:creationId xmlns:a16="http://schemas.microsoft.com/office/drawing/2014/main" id="{DDC18071-C622-4B1B-8AC8-D5C2F68A0A28}"/>
                </a:ext>
              </a:extLst>
            </p:cNvPr>
            <p:cNvSpPr txBox="1"/>
            <p:nvPr/>
          </p:nvSpPr>
          <p:spPr>
            <a:xfrm>
              <a:off x="6383632" y="3638123"/>
              <a:ext cx="2264904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136</a:t>
              </a:r>
              <a:endParaRPr lang="en-US" sz="1600" b="1" baseline="30000" dirty="0">
                <a:latin typeface="Arial"/>
                <a:cs typeface="Arial"/>
              </a:endParaRPr>
            </a:p>
          </p:txBody>
        </p:sp>
        <p:sp>
          <p:nvSpPr>
            <p:cNvPr id="238" name="object 40">
              <a:extLst>
                <a:ext uri="{FF2B5EF4-FFF2-40B4-BE49-F238E27FC236}">
                  <a16:creationId xmlns:a16="http://schemas.microsoft.com/office/drawing/2014/main" id="{EF3D652C-BF49-423C-83C2-A5169834F890}"/>
                </a:ext>
              </a:extLst>
            </p:cNvPr>
            <p:cNvSpPr txBox="1"/>
            <p:nvPr/>
          </p:nvSpPr>
          <p:spPr>
            <a:xfrm>
              <a:off x="6383633" y="4247367"/>
              <a:ext cx="2264904" cy="464329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71C5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dirty="0">
                  <a:latin typeface="29LT Bukra" pitchFamily="34" charset="-78"/>
                  <a:cs typeface="29LT Bukra" pitchFamily="34" charset="-78"/>
                </a:rPr>
                <a:t>450</a:t>
              </a:r>
            </a:p>
            <a:p>
              <a:pPr algn="ctr">
                <a:lnSpc>
                  <a:spcPct val="100000"/>
                </a:lnSpc>
                <a:spcBef>
                  <a:spcPts val="260"/>
                </a:spcBef>
              </a:pPr>
              <a:r>
                <a:rPr lang="en-US" sz="1600" b="1" kern="0" baseline="30000" dirty="0">
                  <a:latin typeface="29LT Bukra" pitchFamily="34" charset="-78"/>
                  <a:cs typeface="29LT Bukra" pitchFamily="34" charset="-78"/>
                </a:rPr>
                <a:t>Gbps</a:t>
              </a:r>
              <a:endParaRPr lang="en-US" sz="1600" b="1" baseline="30000" dirty="0">
                <a:cs typeface="Arial"/>
              </a:endParaRPr>
            </a:p>
          </p:txBody>
        </p:sp>
      </p:grpSp>
      <p:sp>
        <p:nvSpPr>
          <p:cNvPr id="351" name="object 21">
            <a:extLst>
              <a:ext uri="{FF2B5EF4-FFF2-40B4-BE49-F238E27FC236}">
                <a16:creationId xmlns:a16="http://schemas.microsoft.com/office/drawing/2014/main" id="{3C540855-77B4-474E-AB32-BD838A523E94}"/>
              </a:ext>
            </a:extLst>
          </p:cNvPr>
          <p:cNvSpPr txBox="1"/>
          <p:nvPr/>
        </p:nvSpPr>
        <p:spPr>
          <a:xfrm>
            <a:off x="2143765" y="2513204"/>
            <a:ext cx="2733033" cy="464329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spc="-10" dirty="0">
                <a:solidFill>
                  <a:srgbClr val="12368E"/>
                </a:solidFill>
                <a:cs typeface="Arial"/>
              </a:rPr>
              <a:t>The adoption of digital services in the region</a:t>
            </a:r>
          </a:p>
        </p:txBody>
      </p:sp>
      <p:sp>
        <p:nvSpPr>
          <p:cNvPr id="352" name="object 22">
            <a:extLst>
              <a:ext uri="{FF2B5EF4-FFF2-40B4-BE49-F238E27FC236}">
                <a16:creationId xmlns:a16="http://schemas.microsoft.com/office/drawing/2014/main" id="{6FAD69DA-E012-417B-9842-AE3AF8308188}"/>
              </a:ext>
            </a:extLst>
          </p:cNvPr>
          <p:cNvSpPr txBox="1"/>
          <p:nvPr/>
        </p:nvSpPr>
        <p:spPr>
          <a:xfrm>
            <a:off x="2143765" y="3071648"/>
            <a:ext cx="2671869" cy="464329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spc="-10" dirty="0">
                <a:solidFill>
                  <a:srgbClr val="12368E"/>
                </a:solidFill>
                <a:cs typeface="Arial"/>
              </a:rPr>
              <a:t>The development of ecosystem and sustainability of services</a:t>
            </a:r>
            <a:endParaRPr sz="1400" dirty="0">
              <a:cs typeface="Arial"/>
            </a:endParaRPr>
          </a:p>
        </p:txBody>
      </p:sp>
      <p:sp>
        <p:nvSpPr>
          <p:cNvPr id="353" name="object 23">
            <a:extLst>
              <a:ext uri="{FF2B5EF4-FFF2-40B4-BE49-F238E27FC236}">
                <a16:creationId xmlns:a16="http://schemas.microsoft.com/office/drawing/2014/main" id="{0F767377-D69A-4D7A-8230-2E3878E34014}"/>
              </a:ext>
            </a:extLst>
          </p:cNvPr>
          <p:cNvSpPr txBox="1"/>
          <p:nvPr/>
        </p:nvSpPr>
        <p:spPr>
          <a:xfrm>
            <a:off x="2143765" y="3630091"/>
            <a:ext cx="2671869" cy="464329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spc="-10" dirty="0">
                <a:solidFill>
                  <a:srgbClr val="12368E"/>
                </a:solidFill>
                <a:cs typeface="Arial"/>
              </a:rPr>
              <a:t>organizations that utilizes public services</a:t>
            </a:r>
            <a:endParaRPr sz="1400" dirty="0">
              <a:cs typeface="Arial"/>
            </a:endParaRPr>
          </a:p>
        </p:txBody>
      </p:sp>
      <p:sp>
        <p:nvSpPr>
          <p:cNvPr id="354" name="object 24">
            <a:extLst>
              <a:ext uri="{FF2B5EF4-FFF2-40B4-BE49-F238E27FC236}">
                <a16:creationId xmlns:a16="http://schemas.microsoft.com/office/drawing/2014/main" id="{6FF82920-7E5B-4867-802C-2546DE1BED6A}"/>
              </a:ext>
            </a:extLst>
          </p:cNvPr>
          <p:cNvSpPr txBox="1"/>
          <p:nvPr/>
        </p:nvSpPr>
        <p:spPr>
          <a:xfrm>
            <a:off x="2143765" y="4289696"/>
            <a:ext cx="2671869" cy="464329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spc="-10" dirty="0">
                <a:solidFill>
                  <a:srgbClr val="12368E"/>
                </a:solidFill>
                <a:cs typeface="Arial"/>
              </a:rPr>
              <a:t>Ports connected to SAIX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4CCB816-44A9-436B-A2E0-895661BF978D}"/>
              </a:ext>
            </a:extLst>
          </p:cNvPr>
          <p:cNvSpPr txBox="1"/>
          <p:nvPr/>
        </p:nvSpPr>
        <p:spPr>
          <a:xfrm>
            <a:off x="498481" y="5584341"/>
            <a:ext cx="17430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b="1" kern="0" dirty="0"/>
              <a:t>MANRS</a:t>
            </a:r>
          </a:p>
        </p:txBody>
      </p:sp>
      <p:pic>
        <p:nvPicPr>
          <p:cNvPr id="103" name="Picture 2" descr="MANRS - MANRS">
            <a:extLst>
              <a:ext uri="{FF2B5EF4-FFF2-40B4-BE49-F238E27FC236}">
                <a16:creationId xmlns:a16="http://schemas.microsoft.com/office/drawing/2014/main" id="{F6408253-A753-40EB-9E33-C063C49BE4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74972" b="-12743"/>
          <a:stretch/>
        </p:blipFill>
        <p:spPr bwMode="auto">
          <a:xfrm>
            <a:off x="646614" y="5140186"/>
            <a:ext cx="460954" cy="53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Minus Sign 81">
            <a:extLst>
              <a:ext uri="{FF2B5EF4-FFF2-40B4-BE49-F238E27FC236}">
                <a16:creationId xmlns:a16="http://schemas.microsoft.com/office/drawing/2014/main" id="{0B20A83E-9EE0-41AC-9278-8A9139E65CD5}"/>
              </a:ext>
            </a:extLst>
          </p:cNvPr>
          <p:cNvSpPr/>
          <p:nvPr/>
        </p:nvSpPr>
        <p:spPr>
          <a:xfrm>
            <a:off x="-2197210" y="945229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E5CDDE-4F41-4A10-B24D-B4BE7B87256F}"/>
              </a:ext>
            </a:extLst>
          </p:cNvPr>
          <p:cNvSpPr/>
          <p:nvPr/>
        </p:nvSpPr>
        <p:spPr>
          <a:xfrm>
            <a:off x="646614" y="2510291"/>
            <a:ext cx="1280160" cy="35818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lang="en-US" sz="1500" b="1" spc="-10" dirty="0">
                <a:solidFill>
                  <a:schemeClr val="tx1"/>
                </a:solidFill>
                <a:cs typeface="Arial"/>
              </a:rPr>
              <a:t>Traffic</a:t>
            </a:r>
            <a:endParaRPr lang="en-US" sz="1500" b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371A5A5-C464-41AD-9348-3E3B79BF73AF}"/>
              </a:ext>
            </a:extLst>
          </p:cNvPr>
          <p:cNvSpPr/>
          <p:nvPr/>
        </p:nvSpPr>
        <p:spPr>
          <a:xfrm>
            <a:off x="646614" y="3100931"/>
            <a:ext cx="1280160" cy="35818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spc="-10" dirty="0">
                <a:solidFill>
                  <a:schemeClr val="tx1"/>
                </a:solidFill>
                <a:cs typeface="Arial"/>
              </a:rPr>
              <a:t>Members</a:t>
            </a:r>
            <a:endParaRPr lang="en-US" sz="1500" b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6A56748-75A1-4F8D-BCD4-09BEDF4C2CCE}"/>
              </a:ext>
            </a:extLst>
          </p:cNvPr>
          <p:cNvSpPr/>
          <p:nvPr/>
        </p:nvSpPr>
        <p:spPr>
          <a:xfrm>
            <a:off x="646614" y="3716900"/>
            <a:ext cx="1280160" cy="35818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spc="-10" dirty="0">
                <a:solidFill>
                  <a:schemeClr val="tx1"/>
                </a:solidFill>
                <a:cs typeface="Arial"/>
              </a:rPr>
              <a:t>ASNs</a:t>
            </a:r>
            <a:endParaRPr lang="en-US" sz="1500" b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3FA32F-9E6F-4E17-8F82-1CB74F3A01CD}"/>
              </a:ext>
            </a:extLst>
          </p:cNvPr>
          <p:cNvSpPr/>
          <p:nvPr/>
        </p:nvSpPr>
        <p:spPr>
          <a:xfrm>
            <a:off x="646614" y="4344554"/>
            <a:ext cx="1280160" cy="35818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lang="en-US" sz="1500" b="1" spc="-10" dirty="0">
                <a:solidFill>
                  <a:schemeClr val="tx1"/>
                </a:solidFill>
                <a:cs typeface="Arial"/>
              </a:rPr>
              <a:t>Capacit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69DC75-CF9A-49F9-8070-BBF76641705A}"/>
              </a:ext>
            </a:extLst>
          </p:cNvPr>
          <p:cNvSpPr/>
          <p:nvPr/>
        </p:nvSpPr>
        <p:spPr>
          <a:xfrm>
            <a:off x="1561515" y="5140186"/>
            <a:ext cx="1572642" cy="605574"/>
          </a:xfrm>
          <a:prstGeom prst="rect">
            <a:avLst/>
          </a:prstGeom>
          <a:noFill/>
          <a:ln w="6350">
            <a:solidFill>
              <a:srgbClr val="8AABC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2000" b="1" spc="-10" dirty="0">
                <a:solidFill>
                  <a:srgbClr val="1B9C87"/>
                </a:solidFill>
                <a:cs typeface="Arial"/>
              </a:rPr>
              <a:t>Prevent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CA828A5-3686-436B-B144-F05AF1D77F8D}"/>
              </a:ext>
            </a:extLst>
          </p:cNvPr>
          <p:cNvSpPr/>
          <p:nvPr/>
        </p:nvSpPr>
        <p:spPr>
          <a:xfrm>
            <a:off x="7469514" y="5140186"/>
            <a:ext cx="1572642" cy="605574"/>
          </a:xfrm>
          <a:prstGeom prst="rect">
            <a:avLst/>
          </a:prstGeom>
          <a:noFill/>
          <a:ln w="6350">
            <a:solidFill>
              <a:srgbClr val="8AABC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2000" b="1" spc="-10" dirty="0">
                <a:solidFill>
                  <a:srgbClr val="1B9C87"/>
                </a:solidFill>
                <a:cs typeface="Arial"/>
              </a:rPr>
              <a:t>Coordinat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8893DA1-3F4A-4DD8-9D28-655B9C79586F}"/>
              </a:ext>
            </a:extLst>
          </p:cNvPr>
          <p:cNvSpPr/>
          <p:nvPr/>
        </p:nvSpPr>
        <p:spPr>
          <a:xfrm>
            <a:off x="5500181" y="5140186"/>
            <a:ext cx="1572642" cy="605574"/>
          </a:xfrm>
          <a:prstGeom prst="rect">
            <a:avLst/>
          </a:prstGeom>
          <a:noFill/>
          <a:ln w="6350">
            <a:solidFill>
              <a:srgbClr val="8AABC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2000" b="1" spc="-10" dirty="0">
                <a:solidFill>
                  <a:srgbClr val="1B9C87"/>
                </a:solidFill>
                <a:cs typeface="Arial"/>
              </a:rPr>
              <a:t>Protec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CA37F5F-33F0-426B-8164-B2CC48641073}"/>
              </a:ext>
            </a:extLst>
          </p:cNvPr>
          <p:cNvSpPr/>
          <p:nvPr/>
        </p:nvSpPr>
        <p:spPr>
          <a:xfrm>
            <a:off x="3530848" y="5140186"/>
            <a:ext cx="1572642" cy="605574"/>
          </a:xfrm>
          <a:prstGeom prst="rect">
            <a:avLst/>
          </a:prstGeom>
          <a:noFill/>
          <a:ln w="6350">
            <a:solidFill>
              <a:srgbClr val="8AABC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ar-SA" sz="2000" b="1" spc="-10" dirty="0">
              <a:solidFill>
                <a:srgbClr val="1B9C87"/>
              </a:solidFill>
              <a:cs typeface="Arial"/>
            </a:endParaRPr>
          </a:p>
          <a:p>
            <a:pPr algn="ctr">
              <a:defRPr/>
            </a:pPr>
            <a:r>
              <a:rPr lang="en-US" sz="2000" b="1" spc="-10" dirty="0">
                <a:solidFill>
                  <a:srgbClr val="1B9C87"/>
                </a:solidFill>
                <a:cs typeface="Arial"/>
              </a:rPr>
              <a:t>Promote</a:t>
            </a:r>
          </a:p>
          <a:p>
            <a:pPr lvl="0" algn="ctr">
              <a:defRPr/>
            </a:pPr>
            <a:endParaRPr lang="en-US" sz="2000" b="1" spc="-10" dirty="0">
              <a:solidFill>
                <a:srgbClr val="1B9C87"/>
              </a:solidFill>
              <a:cs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A36F57A-1CA6-4E98-A509-AE01E927EF02}"/>
              </a:ext>
            </a:extLst>
          </p:cNvPr>
          <p:cNvSpPr/>
          <p:nvPr/>
        </p:nvSpPr>
        <p:spPr>
          <a:xfrm>
            <a:off x="9438847" y="5140186"/>
            <a:ext cx="1572642" cy="605574"/>
          </a:xfrm>
          <a:prstGeom prst="rect">
            <a:avLst/>
          </a:prstGeom>
          <a:noFill/>
          <a:ln w="6350">
            <a:solidFill>
              <a:srgbClr val="8AABC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2000" b="1" spc="-10" dirty="0">
                <a:solidFill>
                  <a:srgbClr val="1B9C87"/>
                </a:solidFill>
                <a:cs typeface="Arial"/>
              </a:rPr>
              <a:t>Tool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C236FF-CE3B-44AB-A097-FAF1C69D6D1D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67AE4BC-35E4-49EB-B7C8-F1752D38A87A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1637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BF7F14-5512-466B-9104-F8A57AD9A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92" y="408503"/>
            <a:ext cx="6434875" cy="370326"/>
          </a:xfrm>
        </p:spPr>
        <p:txBody>
          <a:bodyPr>
            <a:noAutofit/>
          </a:bodyPr>
          <a:lstStyle/>
          <a:p>
            <a:r>
              <a:rPr lang="en-US" sz="3600" b="1" dirty="0"/>
              <a:t>Current reading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734940-8452-3783-65BA-FD1437942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995DBE-FDAD-4AEC-9D4B-4F60B08561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A560265A-1C7A-4825-80DC-9AA0FC58C2D6}"/>
              </a:ext>
            </a:extLst>
          </p:cNvPr>
          <p:cNvSpPr/>
          <p:nvPr/>
        </p:nvSpPr>
        <p:spPr>
          <a:xfrm>
            <a:off x="378246" y="5099734"/>
            <a:ext cx="1257113" cy="1147955"/>
          </a:xfrm>
          <a:prstGeom prst="rect">
            <a:avLst/>
          </a:prstGeom>
          <a:solidFill>
            <a:srgbClr val="068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Ins="27432" bIns="27432" rtlCol="0" anchor="ctr"/>
          <a:lstStyle/>
          <a:p>
            <a:pPr algn="ctr" fontAlgn="b"/>
            <a:r>
              <a:rPr lang="en-GB" sz="1400" b="1" dirty="0">
                <a:solidFill>
                  <a:schemeClr val="bg1"/>
                </a:solidFill>
                <a:latin typeface="29LT Bukra Rg" panose="00000500000000000000" pitchFamily="50" charset="-78"/>
                <a:cs typeface="29LT Bukra Rg" panose="00000500000000000000" pitchFamily="50" charset="-78"/>
              </a:rPr>
              <a:t>23</a:t>
            </a:r>
          </a:p>
          <a:p>
            <a:pPr algn="ctr" fontAlgn="b"/>
            <a:r>
              <a:rPr lang="en-GB" sz="1400" b="1" dirty="0">
                <a:solidFill>
                  <a:schemeClr val="bg1"/>
                </a:solidFill>
                <a:latin typeface="29LT Bukra Rg" panose="00000500000000000000" pitchFamily="50" charset="-78"/>
                <a:cs typeface="29LT Bukra Rg" panose="00000500000000000000" pitchFamily="50" charset="-78"/>
              </a:rPr>
              <a:t>Membe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E7F2E7-B0C4-44D5-9A69-EBB26179DEF3}"/>
              </a:ext>
            </a:extLst>
          </p:cNvPr>
          <p:cNvSpPr/>
          <p:nvPr/>
        </p:nvSpPr>
        <p:spPr>
          <a:xfrm>
            <a:off x="1800393" y="5093290"/>
            <a:ext cx="9486732" cy="11479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" tIns="27432" rIns="36576" bIns="27432" rtlCol="0" anchor="ctr"/>
          <a:lstStyle/>
          <a:p>
            <a:pPr marL="285750" lvl="0" indent="-285750" fontAlgn="base">
              <a:spcBef>
                <a:spcPct val="300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  <a:defRPr/>
            </a:pPr>
            <a:endParaRPr lang="en-GB" sz="1050" b="1" dirty="0">
              <a:solidFill>
                <a:schemeClr val="tx1">
                  <a:lumMod val="75000"/>
                  <a:lumOff val="25000"/>
                </a:schemeClr>
              </a:solidFill>
              <a:latin typeface="29LT Bukra Rg" panose="00000500000000000000" pitchFamily="50" charset="-78"/>
              <a:cs typeface="29LT Bukra Rg" panose="00000500000000000000" pitchFamily="50" charset="-78"/>
            </a:endParaRPr>
          </a:p>
        </p:txBody>
      </p:sp>
      <p:pic>
        <p:nvPicPr>
          <p:cNvPr id="25602" name="Picture 2" descr="https://www.saix.sa/wp-content/uploads/2023/07/GCP_Logo-e1690443080540.png">
            <a:extLst>
              <a:ext uri="{FF2B5EF4-FFF2-40B4-BE49-F238E27FC236}">
                <a16:creationId xmlns:a16="http://schemas.microsoft.com/office/drawing/2014/main" id="{4628509B-F303-4677-BA12-5899913852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405" y="5104840"/>
            <a:ext cx="960114" cy="71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https://www.saix.sa/wp-content/uploads/2023/01/cloudns.png">
            <a:extLst>
              <a:ext uri="{FF2B5EF4-FFF2-40B4-BE49-F238E27FC236}">
                <a16:creationId xmlns:a16="http://schemas.microsoft.com/office/drawing/2014/main" id="{D17D167A-90CA-4D87-A808-EE0394D58D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71" t="21156" r="40988" b="39315"/>
          <a:stretch/>
        </p:blipFill>
        <p:spPr bwMode="auto">
          <a:xfrm>
            <a:off x="7322842" y="5751034"/>
            <a:ext cx="778857" cy="37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s://www.saix.sa/wp-content/uploads/2023/01/netnod.png">
            <a:extLst>
              <a:ext uri="{FF2B5EF4-FFF2-40B4-BE49-F238E27FC236}">
                <a16:creationId xmlns:a16="http://schemas.microsoft.com/office/drawing/2014/main" id="{C605F6BF-2680-4CAB-B65C-0710BD4ACC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30" t="5472" r="40522" b="5127"/>
          <a:stretch/>
        </p:blipFill>
        <p:spPr bwMode="auto">
          <a:xfrm>
            <a:off x="3652203" y="5161387"/>
            <a:ext cx="487548" cy="51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https://www.saix.sa/wp-content/uploads/2023/01/cdnetworks.png">
            <a:extLst>
              <a:ext uri="{FF2B5EF4-FFF2-40B4-BE49-F238E27FC236}">
                <a16:creationId xmlns:a16="http://schemas.microsoft.com/office/drawing/2014/main" id="{3EF24AA9-7824-4F17-93D3-26E2D711F2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30" t="34290" r="28225" b="31594"/>
          <a:stretch/>
        </p:blipFill>
        <p:spPr bwMode="auto">
          <a:xfrm>
            <a:off x="8223065" y="5864862"/>
            <a:ext cx="1279573" cy="265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https://www.saix.sa/wp-content/uploads/2023/01/verisign.png">
            <a:extLst>
              <a:ext uri="{FF2B5EF4-FFF2-40B4-BE49-F238E27FC236}">
                <a16:creationId xmlns:a16="http://schemas.microsoft.com/office/drawing/2014/main" id="{57896030-1931-4764-9CB9-42D40A7008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65" t="13595" r="41371" b="13008"/>
          <a:stretch/>
        </p:blipFill>
        <p:spPr bwMode="auto">
          <a:xfrm>
            <a:off x="9022145" y="5218217"/>
            <a:ext cx="555760" cy="525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349D6AC-AD0D-49E0-AA61-908EC5BC24B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8228" b="34078"/>
          <a:stretch/>
        </p:blipFill>
        <p:spPr>
          <a:xfrm>
            <a:off x="5232243" y="5835419"/>
            <a:ext cx="1240653" cy="22372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C270AFDD-0EB6-48F7-83CE-BE68D08C19A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43947"/>
          <a:stretch/>
        </p:blipFill>
        <p:spPr>
          <a:xfrm>
            <a:off x="4107257" y="5816357"/>
            <a:ext cx="1003620" cy="285611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5DCAE4B-B4D0-4E1D-9D12-3CC69EAAEDF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173" y="5230469"/>
            <a:ext cx="1213482" cy="389644"/>
          </a:xfrm>
          <a:prstGeom prst="rect">
            <a:avLst/>
          </a:prstGeom>
        </p:spPr>
      </p:pic>
      <p:pic>
        <p:nvPicPr>
          <p:cNvPr id="36" name="图片 3" descr="edgenext logo_画板 1 副本 7">
            <a:extLst>
              <a:ext uri="{FF2B5EF4-FFF2-40B4-BE49-F238E27FC236}">
                <a16:creationId xmlns:a16="http://schemas.microsoft.com/office/drawing/2014/main" id="{C7729AD9-8F47-4518-986F-F3612144E92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9803" t="42296" r="19941" b="40507"/>
          <a:stretch/>
        </p:blipFill>
        <p:spPr>
          <a:xfrm>
            <a:off x="7384160" y="5225262"/>
            <a:ext cx="1477331" cy="432226"/>
          </a:xfrm>
          <a:prstGeom prst="rect">
            <a:avLst/>
          </a:prstGeom>
        </p:spPr>
      </p:pic>
      <p:pic>
        <p:nvPicPr>
          <p:cNvPr id="25604" name="Picture 4" descr="EdgeUno | Technology Magazine">
            <a:extLst>
              <a:ext uri="{FF2B5EF4-FFF2-40B4-BE49-F238E27FC236}">
                <a16:creationId xmlns:a16="http://schemas.microsoft.com/office/drawing/2014/main" id="{8C23DCBB-1283-444B-A180-F7469752B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1686" y="5164693"/>
            <a:ext cx="514369" cy="527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Zenlayer - Crunchbase Company Profile &amp; Funding">
            <a:extLst>
              <a:ext uri="{FF2B5EF4-FFF2-40B4-BE49-F238E27FC236}">
                <a16:creationId xmlns:a16="http://schemas.microsoft.com/office/drawing/2014/main" id="{291D4A9F-F54B-4D3D-8F73-BDD996687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262" y="5625200"/>
            <a:ext cx="607214" cy="62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ISC Logos - ISC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4" t="19031" r="14470" b="37853"/>
          <a:stretch/>
        </p:blipFill>
        <p:spPr bwMode="auto">
          <a:xfrm>
            <a:off x="3621549" y="5766614"/>
            <a:ext cx="364342" cy="363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Pch Logo - Packet Clearing House Logo PNG Image with No Background  - PNGkey.co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309" y="5281424"/>
            <a:ext cx="428197" cy="31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ile:Quad9 logo.svg - Wikimedia Commons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8559" y="5189995"/>
            <a:ext cx="782478" cy="43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www.saix.sa/wp-content/uploads/2022/06/KaopuCloud.png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51" t="32305" r="33704" b="31369"/>
          <a:stretch/>
        </p:blipFill>
        <p:spPr bwMode="auto">
          <a:xfrm>
            <a:off x="9624004" y="5632402"/>
            <a:ext cx="1040765" cy="58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RIPE NCC Logo — RIPE Network Coordination Centre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576"/>
          <a:stretch/>
        </p:blipFill>
        <p:spPr bwMode="auto">
          <a:xfrm>
            <a:off x="10786133" y="5743467"/>
            <a:ext cx="409923" cy="38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BEDE115-64FA-47F6-B076-9C45D235B540}"/>
              </a:ext>
            </a:extLst>
          </p:cNvPr>
          <p:cNvGrpSpPr/>
          <p:nvPr/>
        </p:nvGrpSpPr>
        <p:grpSpPr>
          <a:xfrm>
            <a:off x="7210691" y="2046381"/>
            <a:ext cx="4409548" cy="2765238"/>
            <a:chOff x="6942162" y="1742274"/>
            <a:chExt cx="4832829" cy="2980229"/>
          </a:xfrm>
        </p:grpSpPr>
        <p:sp>
          <p:nvSpPr>
            <p:cNvPr id="203" name="Rounded Rectangle 9">
              <a:extLst>
                <a:ext uri="{FF2B5EF4-FFF2-40B4-BE49-F238E27FC236}">
                  <a16:creationId xmlns:a16="http://schemas.microsoft.com/office/drawing/2014/main" id="{EFEAC65A-5A3C-490C-8B85-486168F52C10}"/>
                </a:ext>
              </a:extLst>
            </p:cNvPr>
            <p:cNvSpPr/>
            <p:nvPr/>
          </p:nvSpPr>
          <p:spPr>
            <a:xfrm>
              <a:off x="6942162" y="1742274"/>
              <a:ext cx="1449859" cy="1449859"/>
            </a:xfrm>
            <a:prstGeom prst="roundRect">
              <a:avLst>
                <a:gd name="adj" fmla="val 2632"/>
              </a:avLst>
            </a:prstGeom>
            <a:solidFill>
              <a:srgbClr val="1FAC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179 </a:t>
              </a:r>
              <a:r>
                <a:rPr lang="en-US" sz="1600" dirty="0"/>
                <a:t>ASNs</a:t>
              </a:r>
            </a:p>
          </p:txBody>
        </p:sp>
        <p:sp>
          <p:nvSpPr>
            <p:cNvPr id="204" name="Rounded Rectangle 37">
              <a:extLst>
                <a:ext uri="{FF2B5EF4-FFF2-40B4-BE49-F238E27FC236}">
                  <a16:creationId xmlns:a16="http://schemas.microsoft.com/office/drawing/2014/main" id="{34AF1832-5CF5-4D4B-AC2C-49D33278AAD6}"/>
                </a:ext>
              </a:extLst>
            </p:cNvPr>
            <p:cNvSpPr/>
            <p:nvPr/>
          </p:nvSpPr>
          <p:spPr>
            <a:xfrm>
              <a:off x="8633647" y="1742274"/>
              <a:ext cx="1449859" cy="1449859"/>
            </a:xfrm>
            <a:prstGeom prst="roundRect">
              <a:avLst>
                <a:gd name="adj" fmla="val 2632"/>
              </a:avLst>
            </a:prstGeom>
            <a:solidFill>
              <a:srgbClr val="1FAC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+25K</a:t>
              </a:r>
              <a:r>
                <a:rPr lang="en-US" sz="1600" dirty="0"/>
                <a:t> IPv4/ v6</a:t>
              </a:r>
            </a:p>
            <a:p>
              <a:pPr algn="ctr"/>
              <a:r>
                <a:rPr lang="en-US" dirty="0"/>
                <a:t>Prefixes</a:t>
              </a:r>
              <a:endParaRPr lang="en-US" sz="1600" dirty="0"/>
            </a:p>
          </p:txBody>
        </p:sp>
        <p:sp>
          <p:nvSpPr>
            <p:cNvPr id="205" name="Rounded Rectangle 38">
              <a:extLst>
                <a:ext uri="{FF2B5EF4-FFF2-40B4-BE49-F238E27FC236}">
                  <a16:creationId xmlns:a16="http://schemas.microsoft.com/office/drawing/2014/main" id="{24F46F60-85C9-4B56-A8EC-3F973E260EB2}"/>
                </a:ext>
              </a:extLst>
            </p:cNvPr>
            <p:cNvSpPr/>
            <p:nvPr/>
          </p:nvSpPr>
          <p:spPr>
            <a:xfrm>
              <a:off x="10325132" y="1742274"/>
              <a:ext cx="1449859" cy="1449859"/>
            </a:xfrm>
            <a:prstGeom prst="roundRect">
              <a:avLst>
                <a:gd name="adj" fmla="val 2632"/>
              </a:avLst>
            </a:prstGeom>
            <a:solidFill>
              <a:srgbClr val="1FAC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2</a:t>
              </a:r>
              <a:endParaRPr lang="en-US" sz="1600" dirty="0"/>
            </a:p>
            <a:p>
              <a:pPr algn="ctr"/>
              <a:r>
                <a:rPr lang="en-US" sz="1600" dirty="0" err="1"/>
                <a:t>Tbps</a:t>
              </a:r>
              <a:endParaRPr lang="en-US" sz="1600" dirty="0"/>
            </a:p>
            <a:p>
              <a:pPr algn="ctr"/>
              <a:r>
                <a:rPr lang="en-US" sz="1600" dirty="0"/>
                <a:t>Connected</a:t>
              </a:r>
            </a:p>
          </p:txBody>
        </p:sp>
        <p:sp>
          <p:nvSpPr>
            <p:cNvPr id="206" name="Rounded Rectangle 39">
              <a:extLst>
                <a:ext uri="{FF2B5EF4-FFF2-40B4-BE49-F238E27FC236}">
                  <a16:creationId xmlns:a16="http://schemas.microsoft.com/office/drawing/2014/main" id="{49058F01-9011-46F8-9E23-672DCD768061}"/>
                </a:ext>
              </a:extLst>
            </p:cNvPr>
            <p:cNvSpPr/>
            <p:nvPr/>
          </p:nvSpPr>
          <p:spPr>
            <a:xfrm>
              <a:off x="7765225" y="3272644"/>
              <a:ext cx="1449859" cy="1449859"/>
            </a:xfrm>
            <a:prstGeom prst="roundRect">
              <a:avLst>
                <a:gd name="adj" fmla="val 2632"/>
              </a:avLst>
            </a:prstGeom>
            <a:solidFill>
              <a:srgbClr val="175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99% </a:t>
              </a:r>
            </a:p>
            <a:p>
              <a:pPr algn="ctr"/>
              <a:r>
                <a:rPr lang="en-US" sz="1600" dirty="0"/>
                <a:t>Visibility on Saudi addresses</a:t>
              </a:r>
            </a:p>
          </p:txBody>
        </p:sp>
        <p:sp>
          <p:nvSpPr>
            <p:cNvPr id="207" name="Rounded Rectangle 40">
              <a:extLst>
                <a:ext uri="{FF2B5EF4-FFF2-40B4-BE49-F238E27FC236}">
                  <a16:creationId xmlns:a16="http://schemas.microsoft.com/office/drawing/2014/main" id="{00CE23C5-95A3-437C-BAED-A417A8FA0223}"/>
                </a:ext>
              </a:extLst>
            </p:cNvPr>
            <p:cNvSpPr/>
            <p:nvPr/>
          </p:nvSpPr>
          <p:spPr>
            <a:xfrm>
              <a:off x="9456710" y="3272644"/>
              <a:ext cx="1449859" cy="1449859"/>
            </a:xfrm>
            <a:prstGeom prst="roundRect">
              <a:avLst>
                <a:gd name="adj" fmla="val 2632"/>
              </a:avLst>
            </a:prstGeom>
            <a:solidFill>
              <a:srgbClr val="175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100%</a:t>
              </a:r>
              <a:endParaRPr lang="en-US" sz="1600" dirty="0"/>
            </a:p>
            <a:p>
              <a:pPr algn="ctr"/>
              <a:r>
                <a:rPr lang="en-US" dirty="0"/>
                <a:t>Uptime</a:t>
              </a:r>
              <a:endParaRPr lang="en-US" sz="1600" dirty="0"/>
            </a:p>
          </p:txBody>
        </p:sp>
      </p:grpSp>
      <p:pic>
        <p:nvPicPr>
          <p:cNvPr id="221" name="Picture 2" descr="https://go.com.sa/Resources/2/go-logo.png">
            <a:extLst>
              <a:ext uri="{FF2B5EF4-FFF2-40B4-BE49-F238E27FC236}">
                <a16:creationId xmlns:a16="http://schemas.microsoft.com/office/drawing/2014/main" id="{F2886B1D-9E97-436B-B4A3-3EEF83461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906" y="5258132"/>
            <a:ext cx="505951" cy="23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" name="Picture 6" descr="https://www.saix.sa/wp-content/uploads/2023/03/kacst-logo-7.png">
            <a:extLst>
              <a:ext uri="{FF2B5EF4-FFF2-40B4-BE49-F238E27FC236}">
                <a16:creationId xmlns:a16="http://schemas.microsoft.com/office/drawing/2014/main" id="{6CF057A2-0C0F-45CA-94E1-2ED1D539C9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2" r="21892" b="49641"/>
          <a:stretch/>
        </p:blipFill>
        <p:spPr bwMode="auto">
          <a:xfrm>
            <a:off x="3090499" y="5746524"/>
            <a:ext cx="409684" cy="422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2" descr="Salam - Personal">
            <a:extLst>
              <a:ext uri="{FF2B5EF4-FFF2-40B4-BE49-F238E27FC236}">
                <a16:creationId xmlns:a16="http://schemas.microsoft.com/office/drawing/2014/main" id="{530A8823-25E4-49CB-8B9D-2DA7C94B6B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280" y="5092395"/>
            <a:ext cx="531972" cy="55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4" name="Picture 6" descr="ملف:Stc-logo.png - ويكيبيديا">
            <a:extLst>
              <a:ext uri="{FF2B5EF4-FFF2-40B4-BE49-F238E27FC236}">
                <a16:creationId xmlns:a16="http://schemas.microsoft.com/office/drawing/2014/main" id="{A0B555CA-C92C-4AF2-A9F3-1FBAD825F7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392" y="5797780"/>
            <a:ext cx="608376" cy="304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692B0617-103E-4A52-820C-7B05893B5662}"/>
              </a:ext>
            </a:extLst>
          </p:cNvPr>
          <p:cNvPicPr>
            <a:picLocks noChangeAspect="1"/>
          </p:cNvPicPr>
          <p:nvPr/>
        </p:nvPicPr>
        <p:blipFill>
          <a:blip r:embed="rId2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30134" y="5694514"/>
            <a:ext cx="438999" cy="463669"/>
          </a:xfrm>
          <a:prstGeom prst="rect">
            <a:avLst/>
          </a:prstGeom>
        </p:spPr>
      </p:pic>
      <p:pic>
        <p:nvPicPr>
          <p:cNvPr id="35842" name="Picture 2" descr="Download Mobily Logo PNG and Vector (PDF, SVG, Ai, EPS) Free">
            <a:extLst>
              <a:ext uri="{FF2B5EF4-FFF2-40B4-BE49-F238E27FC236}">
                <a16:creationId xmlns:a16="http://schemas.microsoft.com/office/drawing/2014/main" id="{187DC87D-3D8F-4895-867B-C9D775CDF1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7" t="7017" r="27946" b="26131"/>
          <a:stretch/>
        </p:blipFill>
        <p:spPr bwMode="auto">
          <a:xfrm>
            <a:off x="3072511" y="5173991"/>
            <a:ext cx="41903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Minus Sign 41">
            <a:extLst>
              <a:ext uri="{FF2B5EF4-FFF2-40B4-BE49-F238E27FC236}">
                <a16:creationId xmlns:a16="http://schemas.microsoft.com/office/drawing/2014/main" id="{3548E724-86F5-43FF-BCE7-CCEB54D6E791}"/>
              </a:ext>
            </a:extLst>
          </p:cNvPr>
          <p:cNvSpPr/>
          <p:nvPr/>
        </p:nvSpPr>
        <p:spPr>
          <a:xfrm>
            <a:off x="-2197210" y="919664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E4AE280F-9310-458A-B66A-416DEEB0BD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7493874"/>
              </p:ext>
            </p:extLst>
          </p:nvPr>
        </p:nvGraphicFramePr>
        <p:xfrm>
          <a:off x="397869" y="1507217"/>
          <a:ext cx="6321907" cy="3503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D85B7B70-1A04-41BB-9059-BC67C6F80819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D99716E-1F7C-4CD8-9615-9273F539A1C8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625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4" descr="File:Shadow - BaishanCloud Logo.png - Wikimedia Commons">
            <a:extLst>
              <a:ext uri="{FF2B5EF4-FFF2-40B4-BE49-F238E27FC236}">
                <a16:creationId xmlns:a16="http://schemas.microsoft.com/office/drawing/2014/main" id="{39F9AF13-8592-B35F-0E48-5731A8197A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5465" r="12456" b="16120"/>
          <a:stretch/>
        </p:blipFill>
        <p:spPr bwMode="auto">
          <a:xfrm>
            <a:off x="7790900" y="4181281"/>
            <a:ext cx="695418" cy="37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" descr="AWS 合作伙伴靠谱云香港有限公司（KAOPU CLOUD HK LIMITED ）">
            <a:extLst>
              <a:ext uri="{FF2B5EF4-FFF2-40B4-BE49-F238E27FC236}">
                <a16:creationId xmlns:a16="http://schemas.microsoft.com/office/drawing/2014/main" id="{E97C8799-DAB8-822C-8AB3-F630573DB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118" y="5517419"/>
            <a:ext cx="960838" cy="439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" descr="Zenlayer – EdgeStone">
            <a:extLst>
              <a:ext uri="{FF2B5EF4-FFF2-40B4-BE49-F238E27FC236}">
                <a16:creationId xmlns:a16="http://schemas.microsoft.com/office/drawing/2014/main" id="{637FD5C8-6B90-C5C1-A3A3-55B9F14291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3" t="26771" r="5832" b="23825"/>
          <a:stretch/>
        </p:blipFill>
        <p:spPr bwMode="auto">
          <a:xfrm>
            <a:off x="6812905" y="4263423"/>
            <a:ext cx="967238" cy="330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0" descr="Verisign - Wikipedia">
            <a:extLst>
              <a:ext uri="{FF2B5EF4-FFF2-40B4-BE49-F238E27FC236}">
                <a16:creationId xmlns:a16="http://schemas.microsoft.com/office/drawing/2014/main" id="{8D1D1D43-45DC-C2CD-A228-599AC65EDA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6233" y="5537141"/>
            <a:ext cx="1143212" cy="37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2" descr="Netnod - Wikipedia">
            <a:extLst>
              <a:ext uri="{FF2B5EF4-FFF2-40B4-BE49-F238E27FC236}">
                <a16:creationId xmlns:a16="http://schemas.microsoft.com/office/drawing/2014/main" id="{7CBAC8EB-54F3-AED8-A48E-4BA9F7138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7723" y="5577330"/>
            <a:ext cx="341909" cy="33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BC17D5-C418-DB6F-963D-128D7210E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3DEB69-22C8-DB28-9A96-DCCBCD05B9E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FB35524-E244-75A7-91AC-839DC6BDA154}"/>
              </a:ext>
            </a:extLst>
          </p:cNvPr>
          <p:cNvGrpSpPr/>
          <p:nvPr/>
        </p:nvGrpSpPr>
        <p:grpSpPr>
          <a:xfrm>
            <a:off x="-41048" y="2733775"/>
            <a:ext cx="12274095" cy="2957704"/>
            <a:chOff x="-641" y="1815852"/>
            <a:chExt cx="12274095" cy="438830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4E8C798-FE69-E672-7688-C832E847DB4F}"/>
                </a:ext>
              </a:extLst>
            </p:cNvPr>
            <p:cNvSpPr/>
            <p:nvPr/>
          </p:nvSpPr>
          <p:spPr>
            <a:xfrm>
              <a:off x="-641" y="1876689"/>
              <a:ext cx="12274095" cy="4327472"/>
            </a:xfrm>
            <a:custGeom>
              <a:avLst/>
              <a:gdLst>
                <a:gd name="connsiteX0" fmla="*/ 729964 w 13527132"/>
                <a:gd name="connsiteY0" fmla="*/ 227710 h 4674500"/>
                <a:gd name="connsiteX1" fmla="*/ 6634150 w 13527132"/>
                <a:gd name="connsiteY1" fmla="*/ 369599 h 4674500"/>
                <a:gd name="connsiteX2" fmla="*/ 7004640 w 13527132"/>
                <a:gd name="connsiteY2" fmla="*/ 1441655 h 4674500"/>
                <a:gd name="connsiteX3" fmla="*/ 4040723 w 13527132"/>
                <a:gd name="connsiteY3" fmla="*/ 2348172 h 4674500"/>
                <a:gd name="connsiteX4" fmla="*/ 4466392 w 13527132"/>
                <a:gd name="connsiteY4" fmla="*/ 3885310 h 4674500"/>
                <a:gd name="connsiteX5" fmla="*/ 10354812 w 13527132"/>
                <a:gd name="connsiteY5" fmla="*/ 4508048 h 4674500"/>
                <a:gd name="connsiteX6" fmla="*/ 12845764 w 13527132"/>
                <a:gd name="connsiteY6" fmla="*/ 4626289 h 4674500"/>
                <a:gd name="connsiteX7" fmla="*/ 12837881 w 13527132"/>
                <a:gd name="connsiteY7" fmla="*/ 3822248 h 4674500"/>
                <a:gd name="connsiteX8" fmla="*/ 4970888 w 13527132"/>
                <a:gd name="connsiteY8" fmla="*/ 3144330 h 4674500"/>
                <a:gd name="connsiteX9" fmla="*/ 6137536 w 13527132"/>
                <a:gd name="connsiteY9" fmla="*/ 2300875 h 4674500"/>
                <a:gd name="connsiteX10" fmla="*/ 7714088 w 13527132"/>
                <a:gd name="connsiteY10" fmla="*/ 2088041 h 4674500"/>
                <a:gd name="connsiteX11" fmla="*/ 8218585 w 13527132"/>
                <a:gd name="connsiteY11" fmla="*/ 858330 h 4674500"/>
                <a:gd name="connsiteX12" fmla="*/ 7398778 w 13527132"/>
                <a:gd name="connsiteY12" fmla="*/ 85820 h 4674500"/>
                <a:gd name="connsiteX13" fmla="*/ 517129 w 13527132"/>
                <a:gd name="connsiteY13" fmla="*/ 38524 h 4674500"/>
                <a:gd name="connsiteX14" fmla="*/ 517129 w 13527132"/>
                <a:gd name="connsiteY14" fmla="*/ 259241 h 4674500"/>
                <a:gd name="connsiteX15" fmla="*/ 729964 w 13527132"/>
                <a:gd name="connsiteY15" fmla="*/ 227710 h 4674500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714088 w 13527132"/>
                <a:gd name="connsiteY10" fmla="*/ 2086516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714088 w 13527132"/>
                <a:gd name="connsiteY10" fmla="*/ 2086516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690440 w 13527132"/>
                <a:gd name="connsiteY10" fmla="*/ 1928861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90440 w 13527132"/>
                <a:gd name="connsiteY10" fmla="*/ 1908000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90440 w 13527132"/>
                <a:gd name="connsiteY10" fmla="*/ 1908000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197512 h 4644302"/>
                <a:gd name="connsiteX1" fmla="*/ 6634150 w 13534566"/>
                <a:gd name="connsiteY1" fmla="*/ 339401 h 4644302"/>
                <a:gd name="connsiteX2" fmla="*/ 7004640 w 13534566"/>
                <a:gd name="connsiteY2" fmla="*/ 1411457 h 4644302"/>
                <a:gd name="connsiteX3" fmla="*/ 4040723 w 13534566"/>
                <a:gd name="connsiteY3" fmla="*/ 2317974 h 4644302"/>
                <a:gd name="connsiteX4" fmla="*/ 4466392 w 13534566"/>
                <a:gd name="connsiteY4" fmla="*/ 3855112 h 4644302"/>
                <a:gd name="connsiteX5" fmla="*/ 10354812 w 13534566"/>
                <a:gd name="connsiteY5" fmla="*/ 4477850 h 4644302"/>
                <a:gd name="connsiteX6" fmla="*/ 12845764 w 13534566"/>
                <a:gd name="connsiteY6" fmla="*/ 4596091 h 4644302"/>
                <a:gd name="connsiteX7" fmla="*/ 12837881 w 13534566"/>
                <a:gd name="connsiteY7" fmla="*/ 3792050 h 4644302"/>
                <a:gd name="connsiteX8" fmla="*/ 4868412 w 13534566"/>
                <a:gd name="connsiteY8" fmla="*/ 3011657 h 4644302"/>
                <a:gd name="connsiteX9" fmla="*/ 6137536 w 13534566"/>
                <a:gd name="connsiteY9" fmla="*/ 2270677 h 4644302"/>
                <a:gd name="connsiteX10" fmla="*/ 7674675 w 13534566"/>
                <a:gd name="connsiteY10" fmla="*/ 1781947 h 4644302"/>
                <a:gd name="connsiteX11" fmla="*/ 8336827 w 13534566"/>
                <a:gd name="connsiteY11" fmla="*/ 804484 h 4644302"/>
                <a:gd name="connsiteX12" fmla="*/ 7398778 w 13534566"/>
                <a:gd name="connsiteY12" fmla="*/ 55622 h 4644302"/>
                <a:gd name="connsiteX13" fmla="*/ 517129 w 13534566"/>
                <a:gd name="connsiteY13" fmla="*/ 8326 h 4644302"/>
                <a:gd name="connsiteX14" fmla="*/ 517129 w 13534566"/>
                <a:gd name="connsiteY14" fmla="*/ 229043 h 4644302"/>
                <a:gd name="connsiteX15" fmla="*/ 729964 w 13534566"/>
                <a:gd name="connsiteY15" fmla="*/ 197512 h 4644302"/>
                <a:gd name="connsiteX0" fmla="*/ 729964 w 13534566"/>
                <a:gd name="connsiteY0" fmla="*/ 222196 h 4668986"/>
                <a:gd name="connsiteX1" fmla="*/ 6634150 w 13534566"/>
                <a:gd name="connsiteY1" fmla="*/ 364085 h 4668986"/>
                <a:gd name="connsiteX2" fmla="*/ 7004640 w 13534566"/>
                <a:gd name="connsiteY2" fmla="*/ 1436141 h 4668986"/>
                <a:gd name="connsiteX3" fmla="*/ 4040723 w 13534566"/>
                <a:gd name="connsiteY3" fmla="*/ 2342658 h 4668986"/>
                <a:gd name="connsiteX4" fmla="*/ 4466392 w 13534566"/>
                <a:gd name="connsiteY4" fmla="*/ 3879796 h 4668986"/>
                <a:gd name="connsiteX5" fmla="*/ 10354812 w 13534566"/>
                <a:gd name="connsiteY5" fmla="*/ 4502534 h 4668986"/>
                <a:gd name="connsiteX6" fmla="*/ 12845764 w 13534566"/>
                <a:gd name="connsiteY6" fmla="*/ 4620775 h 4668986"/>
                <a:gd name="connsiteX7" fmla="*/ 12837881 w 13534566"/>
                <a:gd name="connsiteY7" fmla="*/ 3816734 h 4668986"/>
                <a:gd name="connsiteX8" fmla="*/ 4868412 w 13534566"/>
                <a:gd name="connsiteY8" fmla="*/ 3036341 h 4668986"/>
                <a:gd name="connsiteX9" fmla="*/ 6137536 w 13534566"/>
                <a:gd name="connsiteY9" fmla="*/ 2295361 h 4668986"/>
                <a:gd name="connsiteX10" fmla="*/ 7674675 w 13534566"/>
                <a:gd name="connsiteY10" fmla="*/ 1806631 h 4668986"/>
                <a:gd name="connsiteX11" fmla="*/ 8029400 w 13534566"/>
                <a:gd name="connsiteY11" fmla="*/ 766106 h 4668986"/>
                <a:gd name="connsiteX12" fmla="*/ 7398778 w 13534566"/>
                <a:gd name="connsiteY12" fmla="*/ 80306 h 4668986"/>
                <a:gd name="connsiteX13" fmla="*/ 517129 w 13534566"/>
                <a:gd name="connsiteY13" fmla="*/ 33010 h 4668986"/>
                <a:gd name="connsiteX14" fmla="*/ 517129 w 13534566"/>
                <a:gd name="connsiteY14" fmla="*/ 253727 h 4668986"/>
                <a:gd name="connsiteX15" fmla="*/ 729964 w 13534566"/>
                <a:gd name="connsiteY15" fmla="*/ 222196 h 4668986"/>
                <a:gd name="connsiteX0" fmla="*/ 729964 w 13534566"/>
                <a:gd name="connsiteY0" fmla="*/ 199000 h 4645790"/>
                <a:gd name="connsiteX1" fmla="*/ 6634150 w 13534566"/>
                <a:gd name="connsiteY1" fmla="*/ 340889 h 4645790"/>
                <a:gd name="connsiteX2" fmla="*/ 7004640 w 13534566"/>
                <a:gd name="connsiteY2" fmla="*/ 1412945 h 4645790"/>
                <a:gd name="connsiteX3" fmla="*/ 4040723 w 13534566"/>
                <a:gd name="connsiteY3" fmla="*/ 2319462 h 4645790"/>
                <a:gd name="connsiteX4" fmla="*/ 4466392 w 13534566"/>
                <a:gd name="connsiteY4" fmla="*/ 3856600 h 4645790"/>
                <a:gd name="connsiteX5" fmla="*/ 10354812 w 13534566"/>
                <a:gd name="connsiteY5" fmla="*/ 4479338 h 4645790"/>
                <a:gd name="connsiteX6" fmla="*/ 12845764 w 13534566"/>
                <a:gd name="connsiteY6" fmla="*/ 4597579 h 4645790"/>
                <a:gd name="connsiteX7" fmla="*/ 12837881 w 13534566"/>
                <a:gd name="connsiteY7" fmla="*/ 3793538 h 4645790"/>
                <a:gd name="connsiteX8" fmla="*/ 4868412 w 13534566"/>
                <a:gd name="connsiteY8" fmla="*/ 3013145 h 4645790"/>
                <a:gd name="connsiteX9" fmla="*/ 6137536 w 13534566"/>
                <a:gd name="connsiteY9" fmla="*/ 2272165 h 4645790"/>
                <a:gd name="connsiteX10" fmla="*/ 7674675 w 13534566"/>
                <a:gd name="connsiteY10" fmla="*/ 1783435 h 4645790"/>
                <a:gd name="connsiteX11" fmla="*/ 8029400 w 13534566"/>
                <a:gd name="connsiteY11" fmla="*/ 742910 h 4645790"/>
                <a:gd name="connsiteX12" fmla="*/ 7398778 w 13534566"/>
                <a:gd name="connsiteY12" fmla="*/ 57110 h 4645790"/>
                <a:gd name="connsiteX13" fmla="*/ 517129 w 13534566"/>
                <a:gd name="connsiteY13" fmla="*/ 9814 h 4645790"/>
                <a:gd name="connsiteX14" fmla="*/ 517129 w 13534566"/>
                <a:gd name="connsiteY14" fmla="*/ 230531 h 4645790"/>
                <a:gd name="connsiteX15" fmla="*/ 729964 w 13534566"/>
                <a:gd name="connsiteY15" fmla="*/ 199000 h 4645790"/>
                <a:gd name="connsiteX0" fmla="*/ 729964 w 13534566"/>
                <a:gd name="connsiteY0" fmla="*/ 195047 h 4641837"/>
                <a:gd name="connsiteX1" fmla="*/ 6634150 w 13534566"/>
                <a:gd name="connsiteY1" fmla="*/ 336936 h 4641837"/>
                <a:gd name="connsiteX2" fmla="*/ 7004640 w 13534566"/>
                <a:gd name="connsiteY2" fmla="*/ 1408992 h 4641837"/>
                <a:gd name="connsiteX3" fmla="*/ 4040723 w 13534566"/>
                <a:gd name="connsiteY3" fmla="*/ 2315509 h 4641837"/>
                <a:gd name="connsiteX4" fmla="*/ 4466392 w 13534566"/>
                <a:gd name="connsiteY4" fmla="*/ 3852647 h 4641837"/>
                <a:gd name="connsiteX5" fmla="*/ 10354812 w 13534566"/>
                <a:gd name="connsiteY5" fmla="*/ 4475385 h 4641837"/>
                <a:gd name="connsiteX6" fmla="*/ 12845764 w 13534566"/>
                <a:gd name="connsiteY6" fmla="*/ 4593626 h 4641837"/>
                <a:gd name="connsiteX7" fmla="*/ 12837881 w 13534566"/>
                <a:gd name="connsiteY7" fmla="*/ 3789585 h 4641837"/>
                <a:gd name="connsiteX8" fmla="*/ 4868412 w 13534566"/>
                <a:gd name="connsiteY8" fmla="*/ 3009192 h 4641837"/>
                <a:gd name="connsiteX9" fmla="*/ 6137536 w 13534566"/>
                <a:gd name="connsiteY9" fmla="*/ 2268212 h 4641837"/>
                <a:gd name="connsiteX10" fmla="*/ 7674675 w 13534566"/>
                <a:gd name="connsiteY10" fmla="*/ 1779482 h 4641837"/>
                <a:gd name="connsiteX11" fmla="*/ 8029400 w 13534566"/>
                <a:gd name="connsiteY11" fmla="*/ 738957 h 4641837"/>
                <a:gd name="connsiteX12" fmla="*/ 7398778 w 13534566"/>
                <a:gd name="connsiteY12" fmla="*/ 53157 h 4641837"/>
                <a:gd name="connsiteX13" fmla="*/ 517129 w 13534566"/>
                <a:gd name="connsiteY13" fmla="*/ 5861 h 4641837"/>
                <a:gd name="connsiteX14" fmla="*/ 517129 w 13534566"/>
                <a:gd name="connsiteY14" fmla="*/ 226578 h 4641837"/>
                <a:gd name="connsiteX15" fmla="*/ 729964 w 13534566"/>
                <a:gd name="connsiteY15" fmla="*/ 195047 h 4641837"/>
                <a:gd name="connsiteX0" fmla="*/ 729964 w 13534566"/>
                <a:gd name="connsiteY0" fmla="*/ 195047 h 4641837"/>
                <a:gd name="connsiteX1" fmla="*/ 6634150 w 13534566"/>
                <a:gd name="connsiteY1" fmla="*/ 336936 h 4641837"/>
                <a:gd name="connsiteX2" fmla="*/ 7004640 w 13534566"/>
                <a:gd name="connsiteY2" fmla="*/ 1408992 h 4641837"/>
                <a:gd name="connsiteX3" fmla="*/ 4040723 w 13534566"/>
                <a:gd name="connsiteY3" fmla="*/ 2315509 h 4641837"/>
                <a:gd name="connsiteX4" fmla="*/ 4466392 w 13534566"/>
                <a:gd name="connsiteY4" fmla="*/ 3852647 h 4641837"/>
                <a:gd name="connsiteX5" fmla="*/ 10354812 w 13534566"/>
                <a:gd name="connsiteY5" fmla="*/ 4475385 h 4641837"/>
                <a:gd name="connsiteX6" fmla="*/ 12845764 w 13534566"/>
                <a:gd name="connsiteY6" fmla="*/ 4593626 h 4641837"/>
                <a:gd name="connsiteX7" fmla="*/ 12837881 w 13534566"/>
                <a:gd name="connsiteY7" fmla="*/ 3789585 h 4641837"/>
                <a:gd name="connsiteX8" fmla="*/ 4868412 w 13534566"/>
                <a:gd name="connsiteY8" fmla="*/ 3009192 h 4641837"/>
                <a:gd name="connsiteX9" fmla="*/ 6137536 w 13534566"/>
                <a:gd name="connsiteY9" fmla="*/ 2268212 h 4641837"/>
                <a:gd name="connsiteX10" fmla="*/ 7635261 w 13534566"/>
                <a:gd name="connsiteY10" fmla="*/ 1684889 h 4641837"/>
                <a:gd name="connsiteX11" fmla="*/ 8029400 w 13534566"/>
                <a:gd name="connsiteY11" fmla="*/ 738957 h 4641837"/>
                <a:gd name="connsiteX12" fmla="*/ 7398778 w 13534566"/>
                <a:gd name="connsiteY12" fmla="*/ 53157 h 4641837"/>
                <a:gd name="connsiteX13" fmla="*/ 517129 w 13534566"/>
                <a:gd name="connsiteY13" fmla="*/ 5861 h 4641837"/>
                <a:gd name="connsiteX14" fmla="*/ 517129 w 13534566"/>
                <a:gd name="connsiteY14" fmla="*/ 226578 h 4641837"/>
                <a:gd name="connsiteX15" fmla="*/ 729964 w 13534566"/>
                <a:gd name="connsiteY15" fmla="*/ 195047 h 4641837"/>
                <a:gd name="connsiteX0" fmla="*/ 729964 w 13534566"/>
                <a:gd name="connsiteY0" fmla="*/ 195515 h 4642305"/>
                <a:gd name="connsiteX1" fmla="*/ 6634150 w 13534566"/>
                <a:gd name="connsiteY1" fmla="*/ 337404 h 4642305"/>
                <a:gd name="connsiteX2" fmla="*/ 7004640 w 13534566"/>
                <a:gd name="connsiteY2" fmla="*/ 1409460 h 4642305"/>
                <a:gd name="connsiteX3" fmla="*/ 4040723 w 13534566"/>
                <a:gd name="connsiteY3" fmla="*/ 2315977 h 4642305"/>
                <a:gd name="connsiteX4" fmla="*/ 4466392 w 13534566"/>
                <a:gd name="connsiteY4" fmla="*/ 3853115 h 4642305"/>
                <a:gd name="connsiteX5" fmla="*/ 10354812 w 13534566"/>
                <a:gd name="connsiteY5" fmla="*/ 4475853 h 4642305"/>
                <a:gd name="connsiteX6" fmla="*/ 12845764 w 13534566"/>
                <a:gd name="connsiteY6" fmla="*/ 4594094 h 4642305"/>
                <a:gd name="connsiteX7" fmla="*/ 12837881 w 13534566"/>
                <a:gd name="connsiteY7" fmla="*/ 3790053 h 4642305"/>
                <a:gd name="connsiteX8" fmla="*/ 4868412 w 13534566"/>
                <a:gd name="connsiteY8" fmla="*/ 3009660 h 4642305"/>
                <a:gd name="connsiteX9" fmla="*/ 6137536 w 13534566"/>
                <a:gd name="connsiteY9" fmla="*/ 2268680 h 4642305"/>
                <a:gd name="connsiteX10" fmla="*/ 7635261 w 13534566"/>
                <a:gd name="connsiteY10" fmla="*/ 1685357 h 4642305"/>
                <a:gd name="connsiteX11" fmla="*/ 8029400 w 13534566"/>
                <a:gd name="connsiteY11" fmla="*/ 739425 h 4642305"/>
                <a:gd name="connsiteX12" fmla="*/ 7044054 w 13534566"/>
                <a:gd name="connsiteY12" fmla="*/ 45742 h 4642305"/>
                <a:gd name="connsiteX13" fmla="*/ 517129 w 13534566"/>
                <a:gd name="connsiteY13" fmla="*/ 6329 h 4642305"/>
                <a:gd name="connsiteX14" fmla="*/ 517129 w 13534566"/>
                <a:gd name="connsiteY14" fmla="*/ 227046 h 4642305"/>
                <a:gd name="connsiteX15" fmla="*/ 729964 w 13534566"/>
                <a:gd name="connsiteY15" fmla="*/ 195515 h 4642305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40657"/>
                <a:gd name="connsiteY0" fmla="*/ 189186 h 4593512"/>
                <a:gd name="connsiteX1" fmla="*/ 6634150 w 13440657"/>
                <a:gd name="connsiteY1" fmla="*/ 331075 h 4593512"/>
                <a:gd name="connsiteX2" fmla="*/ 7004640 w 13440657"/>
                <a:gd name="connsiteY2" fmla="*/ 1403131 h 4593512"/>
                <a:gd name="connsiteX3" fmla="*/ 4040723 w 13440657"/>
                <a:gd name="connsiteY3" fmla="*/ 2309648 h 4593512"/>
                <a:gd name="connsiteX4" fmla="*/ 4466392 w 13440657"/>
                <a:gd name="connsiteY4" fmla="*/ 3846786 h 4593512"/>
                <a:gd name="connsiteX5" fmla="*/ 10354812 w 13440657"/>
                <a:gd name="connsiteY5" fmla="*/ 4469524 h 4593512"/>
                <a:gd name="connsiteX6" fmla="*/ 12845764 w 13440657"/>
                <a:gd name="connsiteY6" fmla="*/ 4587765 h 4593512"/>
                <a:gd name="connsiteX7" fmla="*/ 12837881 w 13440657"/>
                <a:gd name="connsiteY7" fmla="*/ 3783724 h 4593512"/>
                <a:gd name="connsiteX8" fmla="*/ 4868412 w 13440657"/>
                <a:gd name="connsiteY8" fmla="*/ 3003331 h 4593512"/>
                <a:gd name="connsiteX9" fmla="*/ 6137536 w 13440657"/>
                <a:gd name="connsiteY9" fmla="*/ 2262351 h 4593512"/>
                <a:gd name="connsiteX10" fmla="*/ 7635261 w 13440657"/>
                <a:gd name="connsiteY10" fmla="*/ 1679028 h 4593512"/>
                <a:gd name="connsiteX11" fmla="*/ 8029400 w 13440657"/>
                <a:gd name="connsiteY11" fmla="*/ 733096 h 4593512"/>
                <a:gd name="connsiteX12" fmla="*/ 7044054 w 13440657"/>
                <a:gd name="connsiteY12" fmla="*/ 39413 h 4593512"/>
                <a:gd name="connsiteX13" fmla="*/ 517129 w 13440657"/>
                <a:gd name="connsiteY13" fmla="*/ 0 h 4593512"/>
                <a:gd name="connsiteX14" fmla="*/ 517129 w 13440657"/>
                <a:gd name="connsiteY14" fmla="*/ 220717 h 4593512"/>
                <a:gd name="connsiteX15" fmla="*/ 729964 w 13440657"/>
                <a:gd name="connsiteY15" fmla="*/ 189186 h 4593512"/>
                <a:gd name="connsiteX0" fmla="*/ 729964 w 12865920"/>
                <a:gd name="connsiteY0" fmla="*/ 189186 h 4593512"/>
                <a:gd name="connsiteX1" fmla="*/ 6634150 w 12865920"/>
                <a:gd name="connsiteY1" fmla="*/ 331075 h 4593512"/>
                <a:gd name="connsiteX2" fmla="*/ 7004640 w 12865920"/>
                <a:gd name="connsiteY2" fmla="*/ 1403131 h 4593512"/>
                <a:gd name="connsiteX3" fmla="*/ 4040723 w 12865920"/>
                <a:gd name="connsiteY3" fmla="*/ 2309648 h 4593512"/>
                <a:gd name="connsiteX4" fmla="*/ 4466392 w 12865920"/>
                <a:gd name="connsiteY4" fmla="*/ 3846786 h 4593512"/>
                <a:gd name="connsiteX5" fmla="*/ 10354812 w 12865920"/>
                <a:gd name="connsiteY5" fmla="*/ 4469524 h 4593512"/>
                <a:gd name="connsiteX6" fmla="*/ 12845764 w 12865920"/>
                <a:gd name="connsiteY6" fmla="*/ 4587765 h 4593512"/>
                <a:gd name="connsiteX7" fmla="*/ 12837881 w 12865920"/>
                <a:gd name="connsiteY7" fmla="*/ 3783724 h 4593512"/>
                <a:gd name="connsiteX8" fmla="*/ 4868412 w 12865920"/>
                <a:gd name="connsiteY8" fmla="*/ 3003331 h 4593512"/>
                <a:gd name="connsiteX9" fmla="*/ 6137536 w 12865920"/>
                <a:gd name="connsiteY9" fmla="*/ 2262351 h 4593512"/>
                <a:gd name="connsiteX10" fmla="*/ 7635261 w 12865920"/>
                <a:gd name="connsiteY10" fmla="*/ 1679028 h 4593512"/>
                <a:gd name="connsiteX11" fmla="*/ 8029400 w 12865920"/>
                <a:gd name="connsiteY11" fmla="*/ 733096 h 4593512"/>
                <a:gd name="connsiteX12" fmla="*/ 7044054 w 12865920"/>
                <a:gd name="connsiteY12" fmla="*/ 39413 h 4593512"/>
                <a:gd name="connsiteX13" fmla="*/ 517129 w 12865920"/>
                <a:gd name="connsiteY13" fmla="*/ 0 h 4593512"/>
                <a:gd name="connsiteX14" fmla="*/ 517129 w 12865920"/>
                <a:gd name="connsiteY14" fmla="*/ 220717 h 4593512"/>
                <a:gd name="connsiteX15" fmla="*/ 729964 w 12865920"/>
                <a:gd name="connsiteY15" fmla="*/ 189186 h 4593512"/>
                <a:gd name="connsiteX0" fmla="*/ 729964 w 12862702"/>
                <a:gd name="connsiteY0" fmla="*/ 189186 h 4593512"/>
                <a:gd name="connsiteX1" fmla="*/ 6634150 w 12862702"/>
                <a:gd name="connsiteY1" fmla="*/ 331075 h 4593512"/>
                <a:gd name="connsiteX2" fmla="*/ 7004640 w 12862702"/>
                <a:gd name="connsiteY2" fmla="*/ 1403131 h 4593512"/>
                <a:gd name="connsiteX3" fmla="*/ 4040723 w 12862702"/>
                <a:gd name="connsiteY3" fmla="*/ 2309648 h 4593512"/>
                <a:gd name="connsiteX4" fmla="*/ 4466392 w 12862702"/>
                <a:gd name="connsiteY4" fmla="*/ 3846786 h 4593512"/>
                <a:gd name="connsiteX5" fmla="*/ 10354812 w 12862702"/>
                <a:gd name="connsiteY5" fmla="*/ 4469524 h 4593512"/>
                <a:gd name="connsiteX6" fmla="*/ 12845764 w 12862702"/>
                <a:gd name="connsiteY6" fmla="*/ 4587765 h 4593512"/>
                <a:gd name="connsiteX7" fmla="*/ 12837881 w 12862702"/>
                <a:gd name="connsiteY7" fmla="*/ 3783724 h 4593512"/>
                <a:gd name="connsiteX8" fmla="*/ 4868412 w 12862702"/>
                <a:gd name="connsiteY8" fmla="*/ 3003331 h 4593512"/>
                <a:gd name="connsiteX9" fmla="*/ 6137536 w 12862702"/>
                <a:gd name="connsiteY9" fmla="*/ 2262351 h 4593512"/>
                <a:gd name="connsiteX10" fmla="*/ 7635261 w 12862702"/>
                <a:gd name="connsiteY10" fmla="*/ 1679028 h 4593512"/>
                <a:gd name="connsiteX11" fmla="*/ 8029400 w 12862702"/>
                <a:gd name="connsiteY11" fmla="*/ 733096 h 4593512"/>
                <a:gd name="connsiteX12" fmla="*/ 7044054 w 12862702"/>
                <a:gd name="connsiteY12" fmla="*/ 39413 h 4593512"/>
                <a:gd name="connsiteX13" fmla="*/ 517129 w 12862702"/>
                <a:gd name="connsiteY13" fmla="*/ 0 h 4593512"/>
                <a:gd name="connsiteX14" fmla="*/ 517129 w 12862702"/>
                <a:gd name="connsiteY14" fmla="*/ 220717 h 4593512"/>
                <a:gd name="connsiteX15" fmla="*/ 729964 w 12862702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414543 w 12845764"/>
                <a:gd name="connsiteY10" fmla="*/ 1789386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414543 w 12845764"/>
                <a:gd name="connsiteY10" fmla="*/ 1789386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892787 w 13008587"/>
                <a:gd name="connsiteY0" fmla="*/ 189186 h 4593512"/>
                <a:gd name="connsiteX1" fmla="*/ 6796973 w 13008587"/>
                <a:gd name="connsiteY1" fmla="*/ 331075 h 4593512"/>
                <a:gd name="connsiteX2" fmla="*/ 7167463 w 13008587"/>
                <a:gd name="connsiteY2" fmla="*/ 1403131 h 4593512"/>
                <a:gd name="connsiteX3" fmla="*/ 4203546 w 13008587"/>
                <a:gd name="connsiteY3" fmla="*/ 2309648 h 4593512"/>
                <a:gd name="connsiteX4" fmla="*/ 4629215 w 13008587"/>
                <a:gd name="connsiteY4" fmla="*/ 3846786 h 4593512"/>
                <a:gd name="connsiteX5" fmla="*/ 10517635 w 13008587"/>
                <a:gd name="connsiteY5" fmla="*/ 4469524 h 4593512"/>
                <a:gd name="connsiteX6" fmla="*/ 13008587 w 13008587"/>
                <a:gd name="connsiteY6" fmla="*/ 4587765 h 4593512"/>
                <a:gd name="connsiteX7" fmla="*/ 13000704 w 13008587"/>
                <a:gd name="connsiteY7" fmla="*/ 3783724 h 4593512"/>
                <a:gd name="connsiteX8" fmla="*/ 5031235 w 13008587"/>
                <a:gd name="connsiteY8" fmla="*/ 3003331 h 4593512"/>
                <a:gd name="connsiteX9" fmla="*/ 6300359 w 13008587"/>
                <a:gd name="connsiteY9" fmla="*/ 2262351 h 4593512"/>
                <a:gd name="connsiteX10" fmla="*/ 7577366 w 13008587"/>
                <a:gd name="connsiteY10" fmla="*/ 1789386 h 4593512"/>
                <a:gd name="connsiteX11" fmla="*/ 8192223 w 13008587"/>
                <a:gd name="connsiteY11" fmla="*/ 733096 h 4593512"/>
                <a:gd name="connsiteX12" fmla="*/ 7206877 w 13008587"/>
                <a:gd name="connsiteY12" fmla="*/ 39413 h 4593512"/>
                <a:gd name="connsiteX13" fmla="*/ 679952 w 13008587"/>
                <a:gd name="connsiteY13" fmla="*/ 0 h 4593512"/>
                <a:gd name="connsiteX14" fmla="*/ 892787 w 13008587"/>
                <a:gd name="connsiteY14" fmla="*/ 189186 h 4593512"/>
                <a:gd name="connsiteX0" fmla="*/ 892787 w 13008587"/>
                <a:gd name="connsiteY0" fmla="*/ 189186 h 4593512"/>
                <a:gd name="connsiteX1" fmla="*/ 6796973 w 13008587"/>
                <a:gd name="connsiteY1" fmla="*/ 331075 h 4593512"/>
                <a:gd name="connsiteX2" fmla="*/ 7167463 w 13008587"/>
                <a:gd name="connsiteY2" fmla="*/ 1403131 h 4593512"/>
                <a:gd name="connsiteX3" fmla="*/ 4203546 w 13008587"/>
                <a:gd name="connsiteY3" fmla="*/ 2309648 h 4593512"/>
                <a:gd name="connsiteX4" fmla="*/ 4629215 w 13008587"/>
                <a:gd name="connsiteY4" fmla="*/ 3846786 h 4593512"/>
                <a:gd name="connsiteX5" fmla="*/ 10517635 w 13008587"/>
                <a:gd name="connsiteY5" fmla="*/ 4469524 h 4593512"/>
                <a:gd name="connsiteX6" fmla="*/ 13008587 w 13008587"/>
                <a:gd name="connsiteY6" fmla="*/ 4587765 h 4593512"/>
                <a:gd name="connsiteX7" fmla="*/ 13000704 w 13008587"/>
                <a:gd name="connsiteY7" fmla="*/ 3783724 h 4593512"/>
                <a:gd name="connsiteX8" fmla="*/ 5031235 w 13008587"/>
                <a:gd name="connsiteY8" fmla="*/ 3003331 h 4593512"/>
                <a:gd name="connsiteX9" fmla="*/ 6300359 w 13008587"/>
                <a:gd name="connsiteY9" fmla="*/ 2262351 h 4593512"/>
                <a:gd name="connsiteX10" fmla="*/ 7577366 w 13008587"/>
                <a:gd name="connsiteY10" fmla="*/ 1789386 h 4593512"/>
                <a:gd name="connsiteX11" fmla="*/ 8192223 w 13008587"/>
                <a:gd name="connsiteY11" fmla="*/ 733096 h 4593512"/>
                <a:gd name="connsiteX12" fmla="*/ 7206877 w 13008587"/>
                <a:gd name="connsiteY12" fmla="*/ 39413 h 4593512"/>
                <a:gd name="connsiteX13" fmla="*/ 679952 w 13008587"/>
                <a:gd name="connsiteY13" fmla="*/ 0 h 4593512"/>
                <a:gd name="connsiteX14" fmla="*/ 892787 w 13008587"/>
                <a:gd name="connsiteY14" fmla="*/ 189186 h 4593512"/>
                <a:gd name="connsiteX0" fmla="*/ 631578 w 12747378"/>
                <a:gd name="connsiteY0" fmla="*/ 189186 h 4593512"/>
                <a:gd name="connsiteX1" fmla="*/ 6535764 w 12747378"/>
                <a:gd name="connsiteY1" fmla="*/ 331075 h 4593512"/>
                <a:gd name="connsiteX2" fmla="*/ 6906254 w 12747378"/>
                <a:gd name="connsiteY2" fmla="*/ 1403131 h 4593512"/>
                <a:gd name="connsiteX3" fmla="*/ 3942337 w 12747378"/>
                <a:gd name="connsiteY3" fmla="*/ 2309648 h 4593512"/>
                <a:gd name="connsiteX4" fmla="*/ 4368006 w 12747378"/>
                <a:gd name="connsiteY4" fmla="*/ 3846786 h 4593512"/>
                <a:gd name="connsiteX5" fmla="*/ 10256426 w 12747378"/>
                <a:gd name="connsiteY5" fmla="*/ 4469524 h 4593512"/>
                <a:gd name="connsiteX6" fmla="*/ 12747378 w 12747378"/>
                <a:gd name="connsiteY6" fmla="*/ 4587765 h 4593512"/>
                <a:gd name="connsiteX7" fmla="*/ 12739495 w 12747378"/>
                <a:gd name="connsiteY7" fmla="*/ 3783724 h 4593512"/>
                <a:gd name="connsiteX8" fmla="*/ 4770026 w 12747378"/>
                <a:gd name="connsiteY8" fmla="*/ 3003331 h 4593512"/>
                <a:gd name="connsiteX9" fmla="*/ 6039150 w 12747378"/>
                <a:gd name="connsiteY9" fmla="*/ 2262351 h 4593512"/>
                <a:gd name="connsiteX10" fmla="*/ 7316157 w 12747378"/>
                <a:gd name="connsiteY10" fmla="*/ 1789386 h 4593512"/>
                <a:gd name="connsiteX11" fmla="*/ 7931014 w 12747378"/>
                <a:gd name="connsiteY11" fmla="*/ 733096 h 4593512"/>
                <a:gd name="connsiteX12" fmla="*/ 6945668 w 12747378"/>
                <a:gd name="connsiteY12" fmla="*/ 39413 h 4593512"/>
                <a:gd name="connsiteX13" fmla="*/ 418743 w 12747378"/>
                <a:gd name="connsiteY13" fmla="*/ 0 h 4593512"/>
                <a:gd name="connsiteX14" fmla="*/ 631578 w 12747378"/>
                <a:gd name="connsiteY14" fmla="*/ 189186 h 4593512"/>
                <a:gd name="connsiteX0" fmla="*/ 212835 w 12328635"/>
                <a:gd name="connsiteY0" fmla="*/ 189186 h 4593512"/>
                <a:gd name="connsiteX1" fmla="*/ 6117021 w 12328635"/>
                <a:gd name="connsiteY1" fmla="*/ 331075 h 4593512"/>
                <a:gd name="connsiteX2" fmla="*/ 6487511 w 12328635"/>
                <a:gd name="connsiteY2" fmla="*/ 1403131 h 4593512"/>
                <a:gd name="connsiteX3" fmla="*/ 3523594 w 12328635"/>
                <a:gd name="connsiteY3" fmla="*/ 2309648 h 4593512"/>
                <a:gd name="connsiteX4" fmla="*/ 3949263 w 12328635"/>
                <a:gd name="connsiteY4" fmla="*/ 3846786 h 4593512"/>
                <a:gd name="connsiteX5" fmla="*/ 9837683 w 12328635"/>
                <a:gd name="connsiteY5" fmla="*/ 4469524 h 4593512"/>
                <a:gd name="connsiteX6" fmla="*/ 12328635 w 12328635"/>
                <a:gd name="connsiteY6" fmla="*/ 4587765 h 4593512"/>
                <a:gd name="connsiteX7" fmla="*/ 12320752 w 12328635"/>
                <a:gd name="connsiteY7" fmla="*/ 3783724 h 4593512"/>
                <a:gd name="connsiteX8" fmla="*/ 4351283 w 12328635"/>
                <a:gd name="connsiteY8" fmla="*/ 3003331 h 4593512"/>
                <a:gd name="connsiteX9" fmla="*/ 5620407 w 12328635"/>
                <a:gd name="connsiteY9" fmla="*/ 2262351 h 4593512"/>
                <a:gd name="connsiteX10" fmla="*/ 6897414 w 12328635"/>
                <a:gd name="connsiteY10" fmla="*/ 1789386 h 4593512"/>
                <a:gd name="connsiteX11" fmla="*/ 7512271 w 12328635"/>
                <a:gd name="connsiteY11" fmla="*/ 733096 h 4593512"/>
                <a:gd name="connsiteX12" fmla="*/ 6526925 w 12328635"/>
                <a:gd name="connsiteY12" fmla="*/ 39413 h 4593512"/>
                <a:gd name="connsiteX13" fmla="*/ 0 w 12328635"/>
                <a:gd name="connsiteY13" fmla="*/ 0 h 4593512"/>
                <a:gd name="connsiteX14" fmla="*/ 212835 w 12328635"/>
                <a:gd name="connsiteY14" fmla="*/ 189186 h 4593512"/>
                <a:gd name="connsiteX0" fmla="*/ 31531 w 12328635"/>
                <a:gd name="connsiteY0" fmla="*/ 189186 h 4593512"/>
                <a:gd name="connsiteX1" fmla="*/ 6117021 w 12328635"/>
                <a:gd name="connsiteY1" fmla="*/ 331075 h 4593512"/>
                <a:gd name="connsiteX2" fmla="*/ 6487511 w 12328635"/>
                <a:gd name="connsiteY2" fmla="*/ 1403131 h 4593512"/>
                <a:gd name="connsiteX3" fmla="*/ 3523594 w 12328635"/>
                <a:gd name="connsiteY3" fmla="*/ 2309648 h 4593512"/>
                <a:gd name="connsiteX4" fmla="*/ 3949263 w 12328635"/>
                <a:gd name="connsiteY4" fmla="*/ 3846786 h 4593512"/>
                <a:gd name="connsiteX5" fmla="*/ 9837683 w 12328635"/>
                <a:gd name="connsiteY5" fmla="*/ 4469524 h 4593512"/>
                <a:gd name="connsiteX6" fmla="*/ 12328635 w 12328635"/>
                <a:gd name="connsiteY6" fmla="*/ 4587765 h 4593512"/>
                <a:gd name="connsiteX7" fmla="*/ 12320752 w 12328635"/>
                <a:gd name="connsiteY7" fmla="*/ 3783724 h 4593512"/>
                <a:gd name="connsiteX8" fmla="*/ 4351283 w 12328635"/>
                <a:gd name="connsiteY8" fmla="*/ 3003331 h 4593512"/>
                <a:gd name="connsiteX9" fmla="*/ 5620407 w 12328635"/>
                <a:gd name="connsiteY9" fmla="*/ 2262351 h 4593512"/>
                <a:gd name="connsiteX10" fmla="*/ 6897414 w 12328635"/>
                <a:gd name="connsiteY10" fmla="*/ 1789386 h 4593512"/>
                <a:gd name="connsiteX11" fmla="*/ 7512271 w 12328635"/>
                <a:gd name="connsiteY11" fmla="*/ 733096 h 4593512"/>
                <a:gd name="connsiteX12" fmla="*/ 6526925 w 12328635"/>
                <a:gd name="connsiteY12" fmla="*/ 39413 h 4593512"/>
                <a:gd name="connsiteX13" fmla="*/ 0 w 12328635"/>
                <a:gd name="connsiteY13" fmla="*/ 0 h 4593512"/>
                <a:gd name="connsiteX14" fmla="*/ 31531 w 12328635"/>
                <a:gd name="connsiteY14" fmla="*/ 189186 h 4593512"/>
                <a:gd name="connsiteX0" fmla="*/ 216 w 12297320"/>
                <a:gd name="connsiteY0" fmla="*/ 402021 h 4806347"/>
                <a:gd name="connsiteX1" fmla="*/ 6085706 w 12297320"/>
                <a:gd name="connsiteY1" fmla="*/ 543910 h 4806347"/>
                <a:gd name="connsiteX2" fmla="*/ 6456196 w 12297320"/>
                <a:gd name="connsiteY2" fmla="*/ 1615966 h 4806347"/>
                <a:gd name="connsiteX3" fmla="*/ 3492279 w 12297320"/>
                <a:gd name="connsiteY3" fmla="*/ 2522483 h 4806347"/>
                <a:gd name="connsiteX4" fmla="*/ 3917948 w 12297320"/>
                <a:gd name="connsiteY4" fmla="*/ 4059621 h 4806347"/>
                <a:gd name="connsiteX5" fmla="*/ 9806368 w 12297320"/>
                <a:gd name="connsiteY5" fmla="*/ 4682359 h 4806347"/>
                <a:gd name="connsiteX6" fmla="*/ 12297320 w 12297320"/>
                <a:gd name="connsiteY6" fmla="*/ 4800600 h 4806347"/>
                <a:gd name="connsiteX7" fmla="*/ 12289437 w 12297320"/>
                <a:gd name="connsiteY7" fmla="*/ 3996559 h 4806347"/>
                <a:gd name="connsiteX8" fmla="*/ 4319968 w 12297320"/>
                <a:gd name="connsiteY8" fmla="*/ 3216166 h 4806347"/>
                <a:gd name="connsiteX9" fmla="*/ 5589092 w 12297320"/>
                <a:gd name="connsiteY9" fmla="*/ 2475186 h 4806347"/>
                <a:gd name="connsiteX10" fmla="*/ 6866099 w 12297320"/>
                <a:gd name="connsiteY10" fmla="*/ 2002221 h 4806347"/>
                <a:gd name="connsiteX11" fmla="*/ 7480956 w 12297320"/>
                <a:gd name="connsiteY11" fmla="*/ 945931 h 4806347"/>
                <a:gd name="connsiteX12" fmla="*/ 6495610 w 12297320"/>
                <a:gd name="connsiteY12" fmla="*/ 252248 h 4806347"/>
                <a:gd name="connsiteX13" fmla="*/ 15982 w 12297320"/>
                <a:gd name="connsiteY13" fmla="*/ 0 h 4806347"/>
                <a:gd name="connsiteX14" fmla="*/ 216 w 12297320"/>
                <a:gd name="connsiteY14" fmla="*/ 402021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465614 w 12281978"/>
                <a:gd name="connsiteY11" fmla="*/ 945931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465614 w 12281978"/>
                <a:gd name="connsiteY11" fmla="*/ 945931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243786 w 12281978"/>
                <a:gd name="connsiteY12" fmla="*/ 236483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243786 w 12281978"/>
                <a:gd name="connsiteY12" fmla="*/ 236483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831021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44652 w 12281978"/>
                <a:gd name="connsiteY8" fmla="*/ 3042746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9791026 w 12274095"/>
                <a:gd name="connsiteY5" fmla="*/ 4682359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8810638 w 12274095"/>
                <a:gd name="connsiteY5" fmla="*/ 4794769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8810638 w 12274095"/>
                <a:gd name="connsiteY5" fmla="*/ 4794769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8810638 w 12274095"/>
                <a:gd name="connsiteY5" fmla="*/ 4794769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8810638 w 12274095"/>
                <a:gd name="connsiteY5" fmla="*/ 4794769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26590"/>
                <a:gd name="connsiteX1" fmla="*/ 6070364 w 12274095"/>
                <a:gd name="connsiteY1" fmla="*/ 543910 h 5126590"/>
                <a:gd name="connsiteX2" fmla="*/ 6440854 w 12274095"/>
                <a:gd name="connsiteY2" fmla="*/ 1615966 h 5126590"/>
                <a:gd name="connsiteX3" fmla="*/ 3476937 w 12274095"/>
                <a:gd name="connsiteY3" fmla="*/ 2522483 h 5126590"/>
                <a:gd name="connsiteX4" fmla="*/ 3902606 w 12274095"/>
                <a:gd name="connsiteY4" fmla="*/ 4059621 h 5126590"/>
                <a:gd name="connsiteX5" fmla="*/ 8820065 w 12274095"/>
                <a:gd name="connsiteY5" fmla="*/ 4850974 h 5126590"/>
                <a:gd name="connsiteX6" fmla="*/ 12263124 w 12274095"/>
                <a:gd name="connsiteY6" fmla="*/ 5126590 h 5126590"/>
                <a:gd name="connsiteX7" fmla="*/ 12274095 w 12274095"/>
                <a:gd name="connsiteY7" fmla="*/ 3831021 h 5126590"/>
                <a:gd name="connsiteX8" fmla="*/ 4244652 w 12274095"/>
                <a:gd name="connsiteY8" fmla="*/ 3042746 h 5126590"/>
                <a:gd name="connsiteX9" fmla="*/ 6117661 w 12274095"/>
                <a:gd name="connsiteY9" fmla="*/ 2278118 h 5126590"/>
                <a:gd name="connsiteX10" fmla="*/ 7363138 w 12274095"/>
                <a:gd name="connsiteY10" fmla="*/ 1072054 h 5126590"/>
                <a:gd name="connsiteX11" fmla="*/ 5731406 w 12274095"/>
                <a:gd name="connsiteY11" fmla="*/ 189186 h 5126590"/>
                <a:gd name="connsiteX12" fmla="*/ 640 w 12274095"/>
                <a:gd name="connsiteY12" fmla="*/ 0 h 5126590"/>
                <a:gd name="connsiteX13" fmla="*/ 640 w 12274095"/>
                <a:gd name="connsiteY13" fmla="*/ 204952 h 5126590"/>
                <a:gd name="connsiteX0" fmla="*/ 640 w 12274095"/>
                <a:gd name="connsiteY0" fmla="*/ 204952 h 5160314"/>
                <a:gd name="connsiteX1" fmla="*/ 6070364 w 12274095"/>
                <a:gd name="connsiteY1" fmla="*/ 543910 h 5160314"/>
                <a:gd name="connsiteX2" fmla="*/ 6440854 w 12274095"/>
                <a:gd name="connsiteY2" fmla="*/ 1615966 h 5160314"/>
                <a:gd name="connsiteX3" fmla="*/ 3476937 w 12274095"/>
                <a:gd name="connsiteY3" fmla="*/ 2522483 h 5160314"/>
                <a:gd name="connsiteX4" fmla="*/ 3902606 w 12274095"/>
                <a:gd name="connsiteY4" fmla="*/ 4059621 h 5160314"/>
                <a:gd name="connsiteX5" fmla="*/ 8820065 w 12274095"/>
                <a:gd name="connsiteY5" fmla="*/ 4850974 h 5160314"/>
                <a:gd name="connsiteX6" fmla="*/ 12263124 w 12274095"/>
                <a:gd name="connsiteY6" fmla="*/ 5160314 h 5160314"/>
                <a:gd name="connsiteX7" fmla="*/ 12274095 w 12274095"/>
                <a:gd name="connsiteY7" fmla="*/ 3831021 h 5160314"/>
                <a:gd name="connsiteX8" fmla="*/ 4244652 w 12274095"/>
                <a:gd name="connsiteY8" fmla="*/ 3042746 h 5160314"/>
                <a:gd name="connsiteX9" fmla="*/ 6117661 w 12274095"/>
                <a:gd name="connsiteY9" fmla="*/ 2278118 h 5160314"/>
                <a:gd name="connsiteX10" fmla="*/ 7363138 w 12274095"/>
                <a:gd name="connsiteY10" fmla="*/ 1072054 h 5160314"/>
                <a:gd name="connsiteX11" fmla="*/ 5731406 w 12274095"/>
                <a:gd name="connsiteY11" fmla="*/ 189186 h 5160314"/>
                <a:gd name="connsiteX12" fmla="*/ 640 w 12274095"/>
                <a:gd name="connsiteY12" fmla="*/ 0 h 5160314"/>
                <a:gd name="connsiteX13" fmla="*/ 640 w 12274095"/>
                <a:gd name="connsiteY13" fmla="*/ 204952 h 5160314"/>
                <a:gd name="connsiteX0" fmla="*/ 640 w 12274095"/>
                <a:gd name="connsiteY0" fmla="*/ 204952 h 5160314"/>
                <a:gd name="connsiteX1" fmla="*/ 6070364 w 12274095"/>
                <a:gd name="connsiteY1" fmla="*/ 543910 h 5160314"/>
                <a:gd name="connsiteX2" fmla="*/ 6440854 w 12274095"/>
                <a:gd name="connsiteY2" fmla="*/ 1615966 h 5160314"/>
                <a:gd name="connsiteX3" fmla="*/ 3476937 w 12274095"/>
                <a:gd name="connsiteY3" fmla="*/ 2522483 h 5160314"/>
                <a:gd name="connsiteX4" fmla="*/ 3902606 w 12274095"/>
                <a:gd name="connsiteY4" fmla="*/ 4059621 h 5160314"/>
                <a:gd name="connsiteX5" fmla="*/ 8820065 w 12274095"/>
                <a:gd name="connsiteY5" fmla="*/ 4850974 h 5160314"/>
                <a:gd name="connsiteX6" fmla="*/ 12263124 w 12274095"/>
                <a:gd name="connsiteY6" fmla="*/ 5160314 h 5160314"/>
                <a:gd name="connsiteX7" fmla="*/ 12274095 w 12274095"/>
                <a:gd name="connsiteY7" fmla="*/ 3831021 h 5160314"/>
                <a:gd name="connsiteX8" fmla="*/ 4244652 w 12274095"/>
                <a:gd name="connsiteY8" fmla="*/ 3042746 h 5160314"/>
                <a:gd name="connsiteX9" fmla="*/ 6117661 w 12274095"/>
                <a:gd name="connsiteY9" fmla="*/ 2278118 h 5160314"/>
                <a:gd name="connsiteX10" fmla="*/ 7363138 w 12274095"/>
                <a:gd name="connsiteY10" fmla="*/ 1072054 h 5160314"/>
                <a:gd name="connsiteX11" fmla="*/ 5731406 w 12274095"/>
                <a:gd name="connsiteY11" fmla="*/ 189186 h 5160314"/>
                <a:gd name="connsiteX12" fmla="*/ 640 w 12274095"/>
                <a:gd name="connsiteY12" fmla="*/ 0 h 5160314"/>
                <a:gd name="connsiteX13" fmla="*/ 640 w 12274095"/>
                <a:gd name="connsiteY13" fmla="*/ 204952 h 5160314"/>
                <a:gd name="connsiteX0" fmla="*/ 640 w 12274095"/>
                <a:gd name="connsiteY0" fmla="*/ 204952 h 5160314"/>
                <a:gd name="connsiteX1" fmla="*/ 6070364 w 12274095"/>
                <a:gd name="connsiteY1" fmla="*/ 543910 h 5160314"/>
                <a:gd name="connsiteX2" fmla="*/ 6440854 w 12274095"/>
                <a:gd name="connsiteY2" fmla="*/ 1615966 h 5160314"/>
                <a:gd name="connsiteX3" fmla="*/ 3476937 w 12274095"/>
                <a:gd name="connsiteY3" fmla="*/ 2522483 h 5160314"/>
                <a:gd name="connsiteX4" fmla="*/ 3902606 w 12274095"/>
                <a:gd name="connsiteY4" fmla="*/ 4059621 h 5160314"/>
                <a:gd name="connsiteX5" fmla="*/ 8820065 w 12274095"/>
                <a:gd name="connsiteY5" fmla="*/ 4850974 h 5160314"/>
                <a:gd name="connsiteX6" fmla="*/ 12263124 w 12274095"/>
                <a:gd name="connsiteY6" fmla="*/ 5160314 h 5160314"/>
                <a:gd name="connsiteX7" fmla="*/ 12274095 w 12274095"/>
                <a:gd name="connsiteY7" fmla="*/ 3831021 h 5160314"/>
                <a:gd name="connsiteX8" fmla="*/ 4244652 w 12274095"/>
                <a:gd name="connsiteY8" fmla="*/ 3042746 h 5160314"/>
                <a:gd name="connsiteX9" fmla="*/ 6117661 w 12274095"/>
                <a:gd name="connsiteY9" fmla="*/ 2278118 h 5160314"/>
                <a:gd name="connsiteX10" fmla="*/ 7363138 w 12274095"/>
                <a:gd name="connsiteY10" fmla="*/ 1072054 h 5160314"/>
                <a:gd name="connsiteX11" fmla="*/ 5731406 w 12274095"/>
                <a:gd name="connsiteY11" fmla="*/ 189186 h 5160314"/>
                <a:gd name="connsiteX12" fmla="*/ 640 w 12274095"/>
                <a:gd name="connsiteY12" fmla="*/ 0 h 5160314"/>
                <a:gd name="connsiteX13" fmla="*/ 640 w 12274095"/>
                <a:gd name="connsiteY13" fmla="*/ 204952 h 5160314"/>
                <a:gd name="connsiteX0" fmla="*/ 640 w 12274095"/>
                <a:gd name="connsiteY0" fmla="*/ 204952 h 5160314"/>
                <a:gd name="connsiteX1" fmla="*/ 6070364 w 12274095"/>
                <a:gd name="connsiteY1" fmla="*/ 543910 h 5160314"/>
                <a:gd name="connsiteX2" fmla="*/ 6440854 w 12274095"/>
                <a:gd name="connsiteY2" fmla="*/ 1615966 h 5160314"/>
                <a:gd name="connsiteX3" fmla="*/ 3476937 w 12274095"/>
                <a:gd name="connsiteY3" fmla="*/ 2522483 h 5160314"/>
                <a:gd name="connsiteX4" fmla="*/ 3902606 w 12274095"/>
                <a:gd name="connsiteY4" fmla="*/ 4059621 h 5160314"/>
                <a:gd name="connsiteX5" fmla="*/ 8820065 w 12274095"/>
                <a:gd name="connsiteY5" fmla="*/ 4850974 h 5160314"/>
                <a:gd name="connsiteX6" fmla="*/ 12263124 w 12274095"/>
                <a:gd name="connsiteY6" fmla="*/ 5160314 h 5160314"/>
                <a:gd name="connsiteX7" fmla="*/ 12274095 w 12274095"/>
                <a:gd name="connsiteY7" fmla="*/ 3831021 h 5160314"/>
                <a:gd name="connsiteX8" fmla="*/ 4244652 w 12274095"/>
                <a:gd name="connsiteY8" fmla="*/ 3042746 h 5160314"/>
                <a:gd name="connsiteX9" fmla="*/ 6117661 w 12274095"/>
                <a:gd name="connsiteY9" fmla="*/ 2278118 h 5160314"/>
                <a:gd name="connsiteX10" fmla="*/ 7363138 w 12274095"/>
                <a:gd name="connsiteY10" fmla="*/ 1072054 h 5160314"/>
                <a:gd name="connsiteX11" fmla="*/ 5731406 w 12274095"/>
                <a:gd name="connsiteY11" fmla="*/ 189186 h 5160314"/>
                <a:gd name="connsiteX12" fmla="*/ 640 w 12274095"/>
                <a:gd name="connsiteY12" fmla="*/ 0 h 5160314"/>
                <a:gd name="connsiteX13" fmla="*/ 640 w 12274095"/>
                <a:gd name="connsiteY13" fmla="*/ 204952 h 516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74095" h="5160314">
                  <a:moveTo>
                    <a:pt x="640" y="204952"/>
                  </a:moveTo>
                  <a:cubicBezTo>
                    <a:pt x="1020143" y="260131"/>
                    <a:pt x="4996995" y="308741"/>
                    <a:pt x="6070364" y="543910"/>
                  </a:cubicBezTo>
                  <a:cubicBezTo>
                    <a:pt x="7143733" y="779079"/>
                    <a:pt x="6983451" y="1349266"/>
                    <a:pt x="6440854" y="1615966"/>
                  </a:cubicBezTo>
                  <a:cubicBezTo>
                    <a:pt x="5898257" y="1882666"/>
                    <a:pt x="3914362" y="2150097"/>
                    <a:pt x="3476937" y="2522483"/>
                  </a:cubicBezTo>
                  <a:cubicBezTo>
                    <a:pt x="3039512" y="2894869"/>
                    <a:pt x="3012085" y="3671539"/>
                    <a:pt x="3902606" y="4059621"/>
                  </a:cubicBezTo>
                  <a:cubicBezTo>
                    <a:pt x="4793127" y="4447703"/>
                    <a:pt x="8482447" y="4802417"/>
                    <a:pt x="8820065" y="4850974"/>
                  </a:cubicBezTo>
                  <a:cubicBezTo>
                    <a:pt x="9157683" y="4899531"/>
                    <a:pt x="11863297" y="5113406"/>
                    <a:pt x="12263124" y="5160314"/>
                  </a:cubicBezTo>
                  <a:cubicBezTo>
                    <a:pt x="12259180" y="5077544"/>
                    <a:pt x="12271468" y="3882258"/>
                    <a:pt x="12274095" y="3831021"/>
                  </a:cubicBezTo>
                  <a:cubicBezTo>
                    <a:pt x="11661867" y="3771900"/>
                    <a:pt x="4246291" y="3374980"/>
                    <a:pt x="4244652" y="3042746"/>
                  </a:cubicBezTo>
                  <a:cubicBezTo>
                    <a:pt x="4243013" y="2710512"/>
                    <a:pt x="5022879" y="2629048"/>
                    <a:pt x="6117661" y="2278118"/>
                  </a:cubicBezTo>
                  <a:cubicBezTo>
                    <a:pt x="7212443" y="1927188"/>
                    <a:pt x="7419632" y="1475389"/>
                    <a:pt x="7363138" y="1072054"/>
                  </a:cubicBezTo>
                  <a:cubicBezTo>
                    <a:pt x="7306644" y="668719"/>
                    <a:pt x="7076731" y="296917"/>
                    <a:pt x="5731406" y="189186"/>
                  </a:cubicBezTo>
                  <a:cubicBezTo>
                    <a:pt x="4386081" y="81455"/>
                    <a:pt x="2176282" y="13138"/>
                    <a:pt x="640" y="0"/>
                  </a:cubicBezTo>
                  <a:cubicBezTo>
                    <a:pt x="4582" y="119555"/>
                    <a:pt x="-1987" y="126125"/>
                    <a:pt x="640" y="20495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CF4198C-4504-2A43-7CA8-3EF8DD624716}"/>
                </a:ext>
              </a:extLst>
            </p:cNvPr>
            <p:cNvSpPr/>
            <p:nvPr/>
          </p:nvSpPr>
          <p:spPr>
            <a:xfrm>
              <a:off x="-1" y="1815852"/>
              <a:ext cx="12273455" cy="4299191"/>
            </a:xfrm>
            <a:custGeom>
              <a:avLst/>
              <a:gdLst>
                <a:gd name="connsiteX0" fmla="*/ 729964 w 13527132"/>
                <a:gd name="connsiteY0" fmla="*/ 227710 h 4674500"/>
                <a:gd name="connsiteX1" fmla="*/ 6634150 w 13527132"/>
                <a:gd name="connsiteY1" fmla="*/ 369599 h 4674500"/>
                <a:gd name="connsiteX2" fmla="*/ 7004640 w 13527132"/>
                <a:gd name="connsiteY2" fmla="*/ 1441655 h 4674500"/>
                <a:gd name="connsiteX3" fmla="*/ 4040723 w 13527132"/>
                <a:gd name="connsiteY3" fmla="*/ 2348172 h 4674500"/>
                <a:gd name="connsiteX4" fmla="*/ 4466392 w 13527132"/>
                <a:gd name="connsiteY4" fmla="*/ 3885310 h 4674500"/>
                <a:gd name="connsiteX5" fmla="*/ 10354812 w 13527132"/>
                <a:gd name="connsiteY5" fmla="*/ 4508048 h 4674500"/>
                <a:gd name="connsiteX6" fmla="*/ 12845764 w 13527132"/>
                <a:gd name="connsiteY6" fmla="*/ 4626289 h 4674500"/>
                <a:gd name="connsiteX7" fmla="*/ 12837881 w 13527132"/>
                <a:gd name="connsiteY7" fmla="*/ 3822248 h 4674500"/>
                <a:gd name="connsiteX8" fmla="*/ 4970888 w 13527132"/>
                <a:gd name="connsiteY8" fmla="*/ 3144330 h 4674500"/>
                <a:gd name="connsiteX9" fmla="*/ 6137536 w 13527132"/>
                <a:gd name="connsiteY9" fmla="*/ 2300875 h 4674500"/>
                <a:gd name="connsiteX10" fmla="*/ 7714088 w 13527132"/>
                <a:gd name="connsiteY10" fmla="*/ 2088041 h 4674500"/>
                <a:gd name="connsiteX11" fmla="*/ 8218585 w 13527132"/>
                <a:gd name="connsiteY11" fmla="*/ 858330 h 4674500"/>
                <a:gd name="connsiteX12" fmla="*/ 7398778 w 13527132"/>
                <a:gd name="connsiteY12" fmla="*/ 85820 h 4674500"/>
                <a:gd name="connsiteX13" fmla="*/ 517129 w 13527132"/>
                <a:gd name="connsiteY13" fmla="*/ 38524 h 4674500"/>
                <a:gd name="connsiteX14" fmla="*/ 517129 w 13527132"/>
                <a:gd name="connsiteY14" fmla="*/ 259241 h 4674500"/>
                <a:gd name="connsiteX15" fmla="*/ 729964 w 13527132"/>
                <a:gd name="connsiteY15" fmla="*/ 227710 h 4674500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714088 w 13527132"/>
                <a:gd name="connsiteY10" fmla="*/ 2086516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714088 w 13527132"/>
                <a:gd name="connsiteY10" fmla="*/ 2086516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26185 h 4672975"/>
                <a:gd name="connsiteX1" fmla="*/ 6634150 w 13527132"/>
                <a:gd name="connsiteY1" fmla="*/ 368074 h 4672975"/>
                <a:gd name="connsiteX2" fmla="*/ 7004640 w 13527132"/>
                <a:gd name="connsiteY2" fmla="*/ 1440130 h 4672975"/>
                <a:gd name="connsiteX3" fmla="*/ 4040723 w 13527132"/>
                <a:gd name="connsiteY3" fmla="*/ 2346647 h 4672975"/>
                <a:gd name="connsiteX4" fmla="*/ 4466392 w 13527132"/>
                <a:gd name="connsiteY4" fmla="*/ 3883785 h 4672975"/>
                <a:gd name="connsiteX5" fmla="*/ 10354812 w 13527132"/>
                <a:gd name="connsiteY5" fmla="*/ 4506523 h 4672975"/>
                <a:gd name="connsiteX6" fmla="*/ 12845764 w 13527132"/>
                <a:gd name="connsiteY6" fmla="*/ 4624764 h 4672975"/>
                <a:gd name="connsiteX7" fmla="*/ 12837881 w 13527132"/>
                <a:gd name="connsiteY7" fmla="*/ 3820723 h 4672975"/>
                <a:gd name="connsiteX8" fmla="*/ 4970888 w 13527132"/>
                <a:gd name="connsiteY8" fmla="*/ 3142805 h 4672975"/>
                <a:gd name="connsiteX9" fmla="*/ 6137536 w 13527132"/>
                <a:gd name="connsiteY9" fmla="*/ 2299350 h 4672975"/>
                <a:gd name="connsiteX10" fmla="*/ 7690440 w 13527132"/>
                <a:gd name="connsiteY10" fmla="*/ 1928861 h 4672975"/>
                <a:gd name="connsiteX11" fmla="*/ 8336827 w 13527132"/>
                <a:gd name="connsiteY11" fmla="*/ 833157 h 4672975"/>
                <a:gd name="connsiteX12" fmla="*/ 7398778 w 13527132"/>
                <a:gd name="connsiteY12" fmla="*/ 84295 h 4672975"/>
                <a:gd name="connsiteX13" fmla="*/ 517129 w 13527132"/>
                <a:gd name="connsiteY13" fmla="*/ 36999 h 4672975"/>
                <a:gd name="connsiteX14" fmla="*/ 517129 w 13527132"/>
                <a:gd name="connsiteY14" fmla="*/ 257716 h 4672975"/>
                <a:gd name="connsiteX15" fmla="*/ 729964 w 13527132"/>
                <a:gd name="connsiteY15" fmla="*/ 226185 h 4672975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90440 w 13527132"/>
                <a:gd name="connsiteY10" fmla="*/ 1908000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90440 w 13527132"/>
                <a:gd name="connsiteY10" fmla="*/ 1908000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27132"/>
                <a:gd name="connsiteY0" fmla="*/ 205324 h 4652114"/>
                <a:gd name="connsiteX1" fmla="*/ 6634150 w 13527132"/>
                <a:gd name="connsiteY1" fmla="*/ 347213 h 4652114"/>
                <a:gd name="connsiteX2" fmla="*/ 7004640 w 13527132"/>
                <a:gd name="connsiteY2" fmla="*/ 1419269 h 4652114"/>
                <a:gd name="connsiteX3" fmla="*/ 4040723 w 13527132"/>
                <a:gd name="connsiteY3" fmla="*/ 2325786 h 4652114"/>
                <a:gd name="connsiteX4" fmla="*/ 4466392 w 13527132"/>
                <a:gd name="connsiteY4" fmla="*/ 3862924 h 4652114"/>
                <a:gd name="connsiteX5" fmla="*/ 10354812 w 13527132"/>
                <a:gd name="connsiteY5" fmla="*/ 4485662 h 4652114"/>
                <a:gd name="connsiteX6" fmla="*/ 12845764 w 13527132"/>
                <a:gd name="connsiteY6" fmla="*/ 4603903 h 4652114"/>
                <a:gd name="connsiteX7" fmla="*/ 12837881 w 13527132"/>
                <a:gd name="connsiteY7" fmla="*/ 3799862 h 4652114"/>
                <a:gd name="connsiteX8" fmla="*/ 4970888 w 13527132"/>
                <a:gd name="connsiteY8" fmla="*/ 3121944 h 4652114"/>
                <a:gd name="connsiteX9" fmla="*/ 6137536 w 13527132"/>
                <a:gd name="connsiteY9" fmla="*/ 2278489 h 4652114"/>
                <a:gd name="connsiteX10" fmla="*/ 7674675 w 13527132"/>
                <a:gd name="connsiteY10" fmla="*/ 1789759 h 4652114"/>
                <a:gd name="connsiteX11" fmla="*/ 8336827 w 13527132"/>
                <a:gd name="connsiteY11" fmla="*/ 812296 h 4652114"/>
                <a:gd name="connsiteX12" fmla="*/ 7398778 w 13527132"/>
                <a:gd name="connsiteY12" fmla="*/ 63434 h 4652114"/>
                <a:gd name="connsiteX13" fmla="*/ 517129 w 13527132"/>
                <a:gd name="connsiteY13" fmla="*/ 16138 h 4652114"/>
                <a:gd name="connsiteX14" fmla="*/ 517129 w 13527132"/>
                <a:gd name="connsiteY14" fmla="*/ 236855 h 4652114"/>
                <a:gd name="connsiteX15" fmla="*/ 729964 w 13527132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205324 h 4652114"/>
                <a:gd name="connsiteX1" fmla="*/ 6634150 w 13534566"/>
                <a:gd name="connsiteY1" fmla="*/ 347213 h 4652114"/>
                <a:gd name="connsiteX2" fmla="*/ 7004640 w 13534566"/>
                <a:gd name="connsiteY2" fmla="*/ 1419269 h 4652114"/>
                <a:gd name="connsiteX3" fmla="*/ 4040723 w 13534566"/>
                <a:gd name="connsiteY3" fmla="*/ 2325786 h 4652114"/>
                <a:gd name="connsiteX4" fmla="*/ 4466392 w 13534566"/>
                <a:gd name="connsiteY4" fmla="*/ 3862924 h 4652114"/>
                <a:gd name="connsiteX5" fmla="*/ 10354812 w 13534566"/>
                <a:gd name="connsiteY5" fmla="*/ 4485662 h 4652114"/>
                <a:gd name="connsiteX6" fmla="*/ 12845764 w 13534566"/>
                <a:gd name="connsiteY6" fmla="*/ 4603903 h 4652114"/>
                <a:gd name="connsiteX7" fmla="*/ 12837881 w 13534566"/>
                <a:gd name="connsiteY7" fmla="*/ 3799862 h 4652114"/>
                <a:gd name="connsiteX8" fmla="*/ 4868412 w 13534566"/>
                <a:gd name="connsiteY8" fmla="*/ 3019469 h 4652114"/>
                <a:gd name="connsiteX9" fmla="*/ 6137536 w 13534566"/>
                <a:gd name="connsiteY9" fmla="*/ 2278489 h 4652114"/>
                <a:gd name="connsiteX10" fmla="*/ 7674675 w 13534566"/>
                <a:gd name="connsiteY10" fmla="*/ 1789759 h 4652114"/>
                <a:gd name="connsiteX11" fmla="*/ 8336827 w 13534566"/>
                <a:gd name="connsiteY11" fmla="*/ 812296 h 4652114"/>
                <a:gd name="connsiteX12" fmla="*/ 7398778 w 13534566"/>
                <a:gd name="connsiteY12" fmla="*/ 63434 h 4652114"/>
                <a:gd name="connsiteX13" fmla="*/ 517129 w 13534566"/>
                <a:gd name="connsiteY13" fmla="*/ 16138 h 4652114"/>
                <a:gd name="connsiteX14" fmla="*/ 517129 w 13534566"/>
                <a:gd name="connsiteY14" fmla="*/ 236855 h 4652114"/>
                <a:gd name="connsiteX15" fmla="*/ 729964 w 13534566"/>
                <a:gd name="connsiteY15" fmla="*/ 205324 h 4652114"/>
                <a:gd name="connsiteX0" fmla="*/ 729964 w 13534566"/>
                <a:gd name="connsiteY0" fmla="*/ 197512 h 4644302"/>
                <a:gd name="connsiteX1" fmla="*/ 6634150 w 13534566"/>
                <a:gd name="connsiteY1" fmla="*/ 339401 h 4644302"/>
                <a:gd name="connsiteX2" fmla="*/ 7004640 w 13534566"/>
                <a:gd name="connsiteY2" fmla="*/ 1411457 h 4644302"/>
                <a:gd name="connsiteX3" fmla="*/ 4040723 w 13534566"/>
                <a:gd name="connsiteY3" fmla="*/ 2317974 h 4644302"/>
                <a:gd name="connsiteX4" fmla="*/ 4466392 w 13534566"/>
                <a:gd name="connsiteY4" fmla="*/ 3855112 h 4644302"/>
                <a:gd name="connsiteX5" fmla="*/ 10354812 w 13534566"/>
                <a:gd name="connsiteY5" fmla="*/ 4477850 h 4644302"/>
                <a:gd name="connsiteX6" fmla="*/ 12845764 w 13534566"/>
                <a:gd name="connsiteY6" fmla="*/ 4596091 h 4644302"/>
                <a:gd name="connsiteX7" fmla="*/ 12837881 w 13534566"/>
                <a:gd name="connsiteY7" fmla="*/ 3792050 h 4644302"/>
                <a:gd name="connsiteX8" fmla="*/ 4868412 w 13534566"/>
                <a:gd name="connsiteY8" fmla="*/ 3011657 h 4644302"/>
                <a:gd name="connsiteX9" fmla="*/ 6137536 w 13534566"/>
                <a:gd name="connsiteY9" fmla="*/ 2270677 h 4644302"/>
                <a:gd name="connsiteX10" fmla="*/ 7674675 w 13534566"/>
                <a:gd name="connsiteY10" fmla="*/ 1781947 h 4644302"/>
                <a:gd name="connsiteX11" fmla="*/ 8336827 w 13534566"/>
                <a:gd name="connsiteY11" fmla="*/ 804484 h 4644302"/>
                <a:gd name="connsiteX12" fmla="*/ 7398778 w 13534566"/>
                <a:gd name="connsiteY12" fmla="*/ 55622 h 4644302"/>
                <a:gd name="connsiteX13" fmla="*/ 517129 w 13534566"/>
                <a:gd name="connsiteY13" fmla="*/ 8326 h 4644302"/>
                <a:gd name="connsiteX14" fmla="*/ 517129 w 13534566"/>
                <a:gd name="connsiteY14" fmla="*/ 229043 h 4644302"/>
                <a:gd name="connsiteX15" fmla="*/ 729964 w 13534566"/>
                <a:gd name="connsiteY15" fmla="*/ 197512 h 4644302"/>
                <a:gd name="connsiteX0" fmla="*/ 729964 w 13534566"/>
                <a:gd name="connsiteY0" fmla="*/ 222196 h 4668986"/>
                <a:gd name="connsiteX1" fmla="*/ 6634150 w 13534566"/>
                <a:gd name="connsiteY1" fmla="*/ 364085 h 4668986"/>
                <a:gd name="connsiteX2" fmla="*/ 7004640 w 13534566"/>
                <a:gd name="connsiteY2" fmla="*/ 1436141 h 4668986"/>
                <a:gd name="connsiteX3" fmla="*/ 4040723 w 13534566"/>
                <a:gd name="connsiteY3" fmla="*/ 2342658 h 4668986"/>
                <a:gd name="connsiteX4" fmla="*/ 4466392 w 13534566"/>
                <a:gd name="connsiteY4" fmla="*/ 3879796 h 4668986"/>
                <a:gd name="connsiteX5" fmla="*/ 10354812 w 13534566"/>
                <a:gd name="connsiteY5" fmla="*/ 4502534 h 4668986"/>
                <a:gd name="connsiteX6" fmla="*/ 12845764 w 13534566"/>
                <a:gd name="connsiteY6" fmla="*/ 4620775 h 4668986"/>
                <a:gd name="connsiteX7" fmla="*/ 12837881 w 13534566"/>
                <a:gd name="connsiteY7" fmla="*/ 3816734 h 4668986"/>
                <a:gd name="connsiteX8" fmla="*/ 4868412 w 13534566"/>
                <a:gd name="connsiteY8" fmla="*/ 3036341 h 4668986"/>
                <a:gd name="connsiteX9" fmla="*/ 6137536 w 13534566"/>
                <a:gd name="connsiteY9" fmla="*/ 2295361 h 4668986"/>
                <a:gd name="connsiteX10" fmla="*/ 7674675 w 13534566"/>
                <a:gd name="connsiteY10" fmla="*/ 1806631 h 4668986"/>
                <a:gd name="connsiteX11" fmla="*/ 8029400 w 13534566"/>
                <a:gd name="connsiteY11" fmla="*/ 766106 h 4668986"/>
                <a:gd name="connsiteX12" fmla="*/ 7398778 w 13534566"/>
                <a:gd name="connsiteY12" fmla="*/ 80306 h 4668986"/>
                <a:gd name="connsiteX13" fmla="*/ 517129 w 13534566"/>
                <a:gd name="connsiteY13" fmla="*/ 33010 h 4668986"/>
                <a:gd name="connsiteX14" fmla="*/ 517129 w 13534566"/>
                <a:gd name="connsiteY14" fmla="*/ 253727 h 4668986"/>
                <a:gd name="connsiteX15" fmla="*/ 729964 w 13534566"/>
                <a:gd name="connsiteY15" fmla="*/ 222196 h 4668986"/>
                <a:gd name="connsiteX0" fmla="*/ 729964 w 13534566"/>
                <a:gd name="connsiteY0" fmla="*/ 199000 h 4645790"/>
                <a:gd name="connsiteX1" fmla="*/ 6634150 w 13534566"/>
                <a:gd name="connsiteY1" fmla="*/ 340889 h 4645790"/>
                <a:gd name="connsiteX2" fmla="*/ 7004640 w 13534566"/>
                <a:gd name="connsiteY2" fmla="*/ 1412945 h 4645790"/>
                <a:gd name="connsiteX3" fmla="*/ 4040723 w 13534566"/>
                <a:gd name="connsiteY3" fmla="*/ 2319462 h 4645790"/>
                <a:gd name="connsiteX4" fmla="*/ 4466392 w 13534566"/>
                <a:gd name="connsiteY4" fmla="*/ 3856600 h 4645790"/>
                <a:gd name="connsiteX5" fmla="*/ 10354812 w 13534566"/>
                <a:gd name="connsiteY5" fmla="*/ 4479338 h 4645790"/>
                <a:gd name="connsiteX6" fmla="*/ 12845764 w 13534566"/>
                <a:gd name="connsiteY6" fmla="*/ 4597579 h 4645790"/>
                <a:gd name="connsiteX7" fmla="*/ 12837881 w 13534566"/>
                <a:gd name="connsiteY7" fmla="*/ 3793538 h 4645790"/>
                <a:gd name="connsiteX8" fmla="*/ 4868412 w 13534566"/>
                <a:gd name="connsiteY8" fmla="*/ 3013145 h 4645790"/>
                <a:gd name="connsiteX9" fmla="*/ 6137536 w 13534566"/>
                <a:gd name="connsiteY9" fmla="*/ 2272165 h 4645790"/>
                <a:gd name="connsiteX10" fmla="*/ 7674675 w 13534566"/>
                <a:gd name="connsiteY10" fmla="*/ 1783435 h 4645790"/>
                <a:gd name="connsiteX11" fmla="*/ 8029400 w 13534566"/>
                <a:gd name="connsiteY11" fmla="*/ 742910 h 4645790"/>
                <a:gd name="connsiteX12" fmla="*/ 7398778 w 13534566"/>
                <a:gd name="connsiteY12" fmla="*/ 57110 h 4645790"/>
                <a:gd name="connsiteX13" fmla="*/ 517129 w 13534566"/>
                <a:gd name="connsiteY13" fmla="*/ 9814 h 4645790"/>
                <a:gd name="connsiteX14" fmla="*/ 517129 w 13534566"/>
                <a:gd name="connsiteY14" fmla="*/ 230531 h 4645790"/>
                <a:gd name="connsiteX15" fmla="*/ 729964 w 13534566"/>
                <a:gd name="connsiteY15" fmla="*/ 199000 h 4645790"/>
                <a:gd name="connsiteX0" fmla="*/ 729964 w 13534566"/>
                <a:gd name="connsiteY0" fmla="*/ 195047 h 4641837"/>
                <a:gd name="connsiteX1" fmla="*/ 6634150 w 13534566"/>
                <a:gd name="connsiteY1" fmla="*/ 336936 h 4641837"/>
                <a:gd name="connsiteX2" fmla="*/ 7004640 w 13534566"/>
                <a:gd name="connsiteY2" fmla="*/ 1408992 h 4641837"/>
                <a:gd name="connsiteX3" fmla="*/ 4040723 w 13534566"/>
                <a:gd name="connsiteY3" fmla="*/ 2315509 h 4641837"/>
                <a:gd name="connsiteX4" fmla="*/ 4466392 w 13534566"/>
                <a:gd name="connsiteY4" fmla="*/ 3852647 h 4641837"/>
                <a:gd name="connsiteX5" fmla="*/ 10354812 w 13534566"/>
                <a:gd name="connsiteY5" fmla="*/ 4475385 h 4641837"/>
                <a:gd name="connsiteX6" fmla="*/ 12845764 w 13534566"/>
                <a:gd name="connsiteY6" fmla="*/ 4593626 h 4641837"/>
                <a:gd name="connsiteX7" fmla="*/ 12837881 w 13534566"/>
                <a:gd name="connsiteY7" fmla="*/ 3789585 h 4641837"/>
                <a:gd name="connsiteX8" fmla="*/ 4868412 w 13534566"/>
                <a:gd name="connsiteY8" fmla="*/ 3009192 h 4641837"/>
                <a:gd name="connsiteX9" fmla="*/ 6137536 w 13534566"/>
                <a:gd name="connsiteY9" fmla="*/ 2268212 h 4641837"/>
                <a:gd name="connsiteX10" fmla="*/ 7674675 w 13534566"/>
                <a:gd name="connsiteY10" fmla="*/ 1779482 h 4641837"/>
                <a:gd name="connsiteX11" fmla="*/ 8029400 w 13534566"/>
                <a:gd name="connsiteY11" fmla="*/ 738957 h 4641837"/>
                <a:gd name="connsiteX12" fmla="*/ 7398778 w 13534566"/>
                <a:gd name="connsiteY12" fmla="*/ 53157 h 4641837"/>
                <a:gd name="connsiteX13" fmla="*/ 517129 w 13534566"/>
                <a:gd name="connsiteY13" fmla="*/ 5861 h 4641837"/>
                <a:gd name="connsiteX14" fmla="*/ 517129 w 13534566"/>
                <a:gd name="connsiteY14" fmla="*/ 226578 h 4641837"/>
                <a:gd name="connsiteX15" fmla="*/ 729964 w 13534566"/>
                <a:gd name="connsiteY15" fmla="*/ 195047 h 4641837"/>
                <a:gd name="connsiteX0" fmla="*/ 729964 w 13534566"/>
                <a:gd name="connsiteY0" fmla="*/ 195047 h 4641837"/>
                <a:gd name="connsiteX1" fmla="*/ 6634150 w 13534566"/>
                <a:gd name="connsiteY1" fmla="*/ 336936 h 4641837"/>
                <a:gd name="connsiteX2" fmla="*/ 7004640 w 13534566"/>
                <a:gd name="connsiteY2" fmla="*/ 1408992 h 4641837"/>
                <a:gd name="connsiteX3" fmla="*/ 4040723 w 13534566"/>
                <a:gd name="connsiteY3" fmla="*/ 2315509 h 4641837"/>
                <a:gd name="connsiteX4" fmla="*/ 4466392 w 13534566"/>
                <a:gd name="connsiteY4" fmla="*/ 3852647 h 4641837"/>
                <a:gd name="connsiteX5" fmla="*/ 10354812 w 13534566"/>
                <a:gd name="connsiteY5" fmla="*/ 4475385 h 4641837"/>
                <a:gd name="connsiteX6" fmla="*/ 12845764 w 13534566"/>
                <a:gd name="connsiteY6" fmla="*/ 4593626 h 4641837"/>
                <a:gd name="connsiteX7" fmla="*/ 12837881 w 13534566"/>
                <a:gd name="connsiteY7" fmla="*/ 3789585 h 4641837"/>
                <a:gd name="connsiteX8" fmla="*/ 4868412 w 13534566"/>
                <a:gd name="connsiteY8" fmla="*/ 3009192 h 4641837"/>
                <a:gd name="connsiteX9" fmla="*/ 6137536 w 13534566"/>
                <a:gd name="connsiteY9" fmla="*/ 2268212 h 4641837"/>
                <a:gd name="connsiteX10" fmla="*/ 7635261 w 13534566"/>
                <a:gd name="connsiteY10" fmla="*/ 1684889 h 4641837"/>
                <a:gd name="connsiteX11" fmla="*/ 8029400 w 13534566"/>
                <a:gd name="connsiteY11" fmla="*/ 738957 h 4641837"/>
                <a:gd name="connsiteX12" fmla="*/ 7398778 w 13534566"/>
                <a:gd name="connsiteY12" fmla="*/ 53157 h 4641837"/>
                <a:gd name="connsiteX13" fmla="*/ 517129 w 13534566"/>
                <a:gd name="connsiteY13" fmla="*/ 5861 h 4641837"/>
                <a:gd name="connsiteX14" fmla="*/ 517129 w 13534566"/>
                <a:gd name="connsiteY14" fmla="*/ 226578 h 4641837"/>
                <a:gd name="connsiteX15" fmla="*/ 729964 w 13534566"/>
                <a:gd name="connsiteY15" fmla="*/ 195047 h 4641837"/>
                <a:gd name="connsiteX0" fmla="*/ 729964 w 13534566"/>
                <a:gd name="connsiteY0" fmla="*/ 195515 h 4642305"/>
                <a:gd name="connsiteX1" fmla="*/ 6634150 w 13534566"/>
                <a:gd name="connsiteY1" fmla="*/ 337404 h 4642305"/>
                <a:gd name="connsiteX2" fmla="*/ 7004640 w 13534566"/>
                <a:gd name="connsiteY2" fmla="*/ 1409460 h 4642305"/>
                <a:gd name="connsiteX3" fmla="*/ 4040723 w 13534566"/>
                <a:gd name="connsiteY3" fmla="*/ 2315977 h 4642305"/>
                <a:gd name="connsiteX4" fmla="*/ 4466392 w 13534566"/>
                <a:gd name="connsiteY4" fmla="*/ 3853115 h 4642305"/>
                <a:gd name="connsiteX5" fmla="*/ 10354812 w 13534566"/>
                <a:gd name="connsiteY5" fmla="*/ 4475853 h 4642305"/>
                <a:gd name="connsiteX6" fmla="*/ 12845764 w 13534566"/>
                <a:gd name="connsiteY6" fmla="*/ 4594094 h 4642305"/>
                <a:gd name="connsiteX7" fmla="*/ 12837881 w 13534566"/>
                <a:gd name="connsiteY7" fmla="*/ 3790053 h 4642305"/>
                <a:gd name="connsiteX8" fmla="*/ 4868412 w 13534566"/>
                <a:gd name="connsiteY8" fmla="*/ 3009660 h 4642305"/>
                <a:gd name="connsiteX9" fmla="*/ 6137536 w 13534566"/>
                <a:gd name="connsiteY9" fmla="*/ 2268680 h 4642305"/>
                <a:gd name="connsiteX10" fmla="*/ 7635261 w 13534566"/>
                <a:gd name="connsiteY10" fmla="*/ 1685357 h 4642305"/>
                <a:gd name="connsiteX11" fmla="*/ 8029400 w 13534566"/>
                <a:gd name="connsiteY11" fmla="*/ 739425 h 4642305"/>
                <a:gd name="connsiteX12" fmla="*/ 7044054 w 13534566"/>
                <a:gd name="connsiteY12" fmla="*/ 45742 h 4642305"/>
                <a:gd name="connsiteX13" fmla="*/ 517129 w 13534566"/>
                <a:gd name="connsiteY13" fmla="*/ 6329 h 4642305"/>
                <a:gd name="connsiteX14" fmla="*/ 517129 w 13534566"/>
                <a:gd name="connsiteY14" fmla="*/ 227046 h 4642305"/>
                <a:gd name="connsiteX15" fmla="*/ 729964 w 13534566"/>
                <a:gd name="connsiteY15" fmla="*/ 195515 h 4642305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35976"/>
                <a:gd name="connsiteX1" fmla="*/ 6634150 w 13534566"/>
                <a:gd name="connsiteY1" fmla="*/ 331075 h 4635976"/>
                <a:gd name="connsiteX2" fmla="*/ 7004640 w 13534566"/>
                <a:gd name="connsiteY2" fmla="*/ 1403131 h 4635976"/>
                <a:gd name="connsiteX3" fmla="*/ 4040723 w 13534566"/>
                <a:gd name="connsiteY3" fmla="*/ 2309648 h 4635976"/>
                <a:gd name="connsiteX4" fmla="*/ 4466392 w 13534566"/>
                <a:gd name="connsiteY4" fmla="*/ 3846786 h 4635976"/>
                <a:gd name="connsiteX5" fmla="*/ 10354812 w 13534566"/>
                <a:gd name="connsiteY5" fmla="*/ 4469524 h 4635976"/>
                <a:gd name="connsiteX6" fmla="*/ 12845764 w 13534566"/>
                <a:gd name="connsiteY6" fmla="*/ 4587765 h 4635976"/>
                <a:gd name="connsiteX7" fmla="*/ 12837881 w 13534566"/>
                <a:gd name="connsiteY7" fmla="*/ 3783724 h 4635976"/>
                <a:gd name="connsiteX8" fmla="*/ 4868412 w 13534566"/>
                <a:gd name="connsiteY8" fmla="*/ 3003331 h 4635976"/>
                <a:gd name="connsiteX9" fmla="*/ 6137536 w 13534566"/>
                <a:gd name="connsiteY9" fmla="*/ 2262351 h 4635976"/>
                <a:gd name="connsiteX10" fmla="*/ 7635261 w 13534566"/>
                <a:gd name="connsiteY10" fmla="*/ 1679028 h 4635976"/>
                <a:gd name="connsiteX11" fmla="*/ 8029400 w 13534566"/>
                <a:gd name="connsiteY11" fmla="*/ 733096 h 4635976"/>
                <a:gd name="connsiteX12" fmla="*/ 7044054 w 13534566"/>
                <a:gd name="connsiteY12" fmla="*/ 39413 h 4635976"/>
                <a:gd name="connsiteX13" fmla="*/ 517129 w 13534566"/>
                <a:gd name="connsiteY13" fmla="*/ 0 h 4635976"/>
                <a:gd name="connsiteX14" fmla="*/ 517129 w 13534566"/>
                <a:gd name="connsiteY14" fmla="*/ 220717 h 4635976"/>
                <a:gd name="connsiteX15" fmla="*/ 729964 w 13534566"/>
                <a:gd name="connsiteY15" fmla="*/ 189186 h 4635976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534566"/>
                <a:gd name="connsiteY0" fmla="*/ 189186 h 4624101"/>
                <a:gd name="connsiteX1" fmla="*/ 6634150 w 13534566"/>
                <a:gd name="connsiteY1" fmla="*/ 331075 h 4624101"/>
                <a:gd name="connsiteX2" fmla="*/ 7004640 w 13534566"/>
                <a:gd name="connsiteY2" fmla="*/ 1403131 h 4624101"/>
                <a:gd name="connsiteX3" fmla="*/ 4040723 w 13534566"/>
                <a:gd name="connsiteY3" fmla="*/ 2309648 h 4624101"/>
                <a:gd name="connsiteX4" fmla="*/ 4466392 w 13534566"/>
                <a:gd name="connsiteY4" fmla="*/ 3846786 h 4624101"/>
                <a:gd name="connsiteX5" fmla="*/ 10354812 w 13534566"/>
                <a:gd name="connsiteY5" fmla="*/ 4469524 h 4624101"/>
                <a:gd name="connsiteX6" fmla="*/ 12845764 w 13534566"/>
                <a:gd name="connsiteY6" fmla="*/ 4587765 h 4624101"/>
                <a:gd name="connsiteX7" fmla="*/ 12837881 w 13534566"/>
                <a:gd name="connsiteY7" fmla="*/ 3783724 h 4624101"/>
                <a:gd name="connsiteX8" fmla="*/ 4868412 w 13534566"/>
                <a:gd name="connsiteY8" fmla="*/ 3003331 h 4624101"/>
                <a:gd name="connsiteX9" fmla="*/ 6137536 w 13534566"/>
                <a:gd name="connsiteY9" fmla="*/ 2262351 h 4624101"/>
                <a:gd name="connsiteX10" fmla="*/ 7635261 w 13534566"/>
                <a:gd name="connsiteY10" fmla="*/ 1679028 h 4624101"/>
                <a:gd name="connsiteX11" fmla="*/ 8029400 w 13534566"/>
                <a:gd name="connsiteY11" fmla="*/ 733096 h 4624101"/>
                <a:gd name="connsiteX12" fmla="*/ 7044054 w 13534566"/>
                <a:gd name="connsiteY12" fmla="*/ 39413 h 4624101"/>
                <a:gd name="connsiteX13" fmla="*/ 517129 w 13534566"/>
                <a:gd name="connsiteY13" fmla="*/ 0 h 4624101"/>
                <a:gd name="connsiteX14" fmla="*/ 517129 w 13534566"/>
                <a:gd name="connsiteY14" fmla="*/ 220717 h 4624101"/>
                <a:gd name="connsiteX15" fmla="*/ 729964 w 13534566"/>
                <a:gd name="connsiteY15" fmla="*/ 189186 h 4624101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68647"/>
                <a:gd name="connsiteY0" fmla="*/ 189186 h 4593512"/>
                <a:gd name="connsiteX1" fmla="*/ 6634150 w 13468647"/>
                <a:gd name="connsiteY1" fmla="*/ 331075 h 4593512"/>
                <a:gd name="connsiteX2" fmla="*/ 7004640 w 13468647"/>
                <a:gd name="connsiteY2" fmla="*/ 1403131 h 4593512"/>
                <a:gd name="connsiteX3" fmla="*/ 4040723 w 13468647"/>
                <a:gd name="connsiteY3" fmla="*/ 2309648 h 4593512"/>
                <a:gd name="connsiteX4" fmla="*/ 4466392 w 13468647"/>
                <a:gd name="connsiteY4" fmla="*/ 3846786 h 4593512"/>
                <a:gd name="connsiteX5" fmla="*/ 10354812 w 13468647"/>
                <a:gd name="connsiteY5" fmla="*/ 4469524 h 4593512"/>
                <a:gd name="connsiteX6" fmla="*/ 12845764 w 13468647"/>
                <a:gd name="connsiteY6" fmla="*/ 4587765 h 4593512"/>
                <a:gd name="connsiteX7" fmla="*/ 12837881 w 13468647"/>
                <a:gd name="connsiteY7" fmla="*/ 3783724 h 4593512"/>
                <a:gd name="connsiteX8" fmla="*/ 4868412 w 13468647"/>
                <a:gd name="connsiteY8" fmla="*/ 3003331 h 4593512"/>
                <a:gd name="connsiteX9" fmla="*/ 6137536 w 13468647"/>
                <a:gd name="connsiteY9" fmla="*/ 2262351 h 4593512"/>
                <a:gd name="connsiteX10" fmla="*/ 7635261 w 13468647"/>
                <a:gd name="connsiteY10" fmla="*/ 1679028 h 4593512"/>
                <a:gd name="connsiteX11" fmla="*/ 8029400 w 13468647"/>
                <a:gd name="connsiteY11" fmla="*/ 733096 h 4593512"/>
                <a:gd name="connsiteX12" fmla="*/ 7044054 w 13468647"/>
                <a:gd name="connsiteY12" fmla="*/ 39413 h 4593512"/>
                <a:gd name="connsiteX13" fmla="*/ 517129 w 13468647"/>
                <a:gd name="connsiteY13" fmla="*/ 0 h 4593512"/>
                <a:gd name="connsiteX14" fmla="*/ 517129 w 13468647"/>
                <a:gd name="connsiteY14" fmla="*/ 220717 h 4593512"/>
                <a:gd name="connsiteX15" fmla="*/ 729964 w 13468647"/>
                <a:gd name="connsiteY15" fmla="*/ 189186 h 4593512"/>
                <a:gd name="connsiteX0" fmla="*/ 729964 w 13440657"/>
                <a:gd name="connsiteY0" fmla="*/ 189186 h 4593512"/>
                <a:gd name="connsiteX1" fmla="*/ 6634150 w 13440657"/>
                <a:gd name="connsiteY1" fmla="*/ 331075 h 4593512"/>
                <a:gd name="connsiteX2" fmla="*/ 7004640 w 13440657"/>
                <a:gd name="connsiteY2" fmla="*/ 1403131 h 4593512"/>
                <a:gd name="connsiteX3" fmla="*/ 4040723 w 13440657"/>
                <a:gd name="connsiteY3" fmla="*/ 2309648 h 4593512"/>
                <a:gd name="connsiteX4" fmla="*/ 4466392 w 13440657"/>
                <a:gd name="connsiteY4" fmla="*/ 3846786 h 4593512"/>
                <a:gd name="connsiteX5" fmla="*/ 10354812 w 13440657"/>
                <a:gd name="connsiteY5" fmla="*/ 4469524 h 4593512"/>
                <a:gd name="connsiteX6" fmla="*/ 12845764 w 13440657"/>
                <a:gd name="connsiteY6" fmla="*/ 4587765 h 4593512"/>
                <a:gd name="connsiteX7" fmla="*/ 12837881 w 13440657"/>
                <a:gd name="connsiteY7" fmla="*/ 3783724 h 4593512"/>
                <a:gd name="connsiteX8" fmla="*/ 4868412 w 13440657"/>
                <a:gd name="connsiteY8" fmla="*/ 3003331 h 4593512"/>
                <a:gd name="connsiteX9" fmla="*/ 6137536 w 13440657"/>
                <a:gd name="connsiteY9" fmla="*/ 2262351 h 4593512"/>
                <a:gd name="connsiteX10" fmla="*/ 7635261 w 13440657"/>
                <a:gd name="connsiteY10" fmla="*/ 1679028 h 4593512"/>
                <a:gd name="connsiteX11" fmla="*/ 8029400 w 13440657"/>
                <a:gd name="connsiteY11" fmla="*/ 733096 h 4593512"/>
                <a:gd name="connsiteX12" fmla="*/ 7044054 w 13440657"/>
                <a:gd name="connsiteY12" fmla="*/ 39413 h 4593512"/>
                <a:gd name="connsiteX13" fmla="*/ 517129 w 13440657"/>
                <a:gd name="connsiteY13" fmla="*/ 0 h 4593512"/>
                <a:gd name="connsiteX14" fmla="*/ 517129 w 13440657"/>
                <a:gd name="connsiteY14" fmla="*/ 220717 h 4593512"/>
                <a:gd name="connsiteX15" fmla="*/ 729964 w 13440657"/>
                <a:gd name="connsiteY15" fmla="*/ 189186 h 4593512"/>
                <a:gd name="connsiteX0" fmla="*/ 729964 w 12865920"/>
                <a:gd name="connsiteY0" fmla="*/ 189186 h 4593512"/>
                <a:gd name="connsiteX1" fmla="*/ 6634150 w 12865920"/>
                <a:gd name="connsiteY1" fmla="*/ 331075 h 4593512"/>
                <a:gd name="connsiteX2" fmla="*/ 7004640 w 12865920"/>
                <a:gd name="connsiteY2" fmla="*/ 1403131 h 4593512"/>
                <a:gd name="connsiteX3" fmla="*/ 4040723 w 12865920"/>
                <a:gd name="connsiteY3" fmla="*/ 2309648 h 4593512"/>
                <a:gd name="connsiteX4" fmla="*/ 4466392 w 12865920"/>
                <a:gd name="connsiteY4" fmla="*/ 3846786 h 4593512"/>
                <a:gd name="connsiteX5" fmla="*/ 10354812 w 12865920"/>
                <a:gd name="connsiteY5" fmla="*/ 4469524 h 4593512"/>
                <a:gd name="connsiteX6" fmla="*/ 12845764 w 12865920"/>
                <a:gd name="connsiteY6" fmla="*/ 4587765 h 4593512"/>
                <a:gd name="connsiteX7" fmla="*/ 12837881 w 12865920"/>
                <a:gd name="connsiteY7" fmla="*/ 3783724 h 4593512"/>
                <a:gd name="connsiteX8" fmla="*/ 4868412 w 12865920"/>
                <a:gd name="connsiteY8" fmla="*/ 3003331 h 4593512"/>
                <a:gd name="connsiteX9" fmla="*/ 6137536 w 12865920"/>
                <a:gd name="connsiteY9" fmla="*/ 2262351 h 4593512"/>
                <a:gd name="connsiteX10" fmla="*/ 7635261 w 12865920"/>
                <a:gd name="connsiteY10" fmla="*/ 1679028 h 4593512"/>
                <a:gd name="connsiteX11" fmla="*/ 8029400 w 12865920"/>
                <a:gd name="connsiteY11" fmla="*/ 733096 h 4593512"/>
                <a:gd name="connsiteX12" fmla="*/ 7044054 w 12865920"/>
                <a:gd name="connsiteY12" fmla="*/ 39413 h 4593512"/>
                <a:gd name="connsiteX13" fmla="*/ 517129 w 12865920"/>
                <a:gd name="connsiteY13" fmla="*/ 0 h 4593512"/>
                <a:gd name="connsiteX14" fmla="*/ 517129 w 12865920"/>
                <a:gd name="connsiteY14" fmla="*/ 220717 h 4593512"/>
                <a:gd name="connsiteX15" fmla="*/ 729964 w 12865920"/>
                <a:gd name="connsiteY15" fmla="*/ 189186 h 4593512"/>
                <a:gd name="connsiteX0" fmla="*/ 729964 w 12862702"/>
                <a:gd name="connsiteY0" fmla="*/ 189186 h 4593512"/>
                <a:gd name="connsiteX1" fmla="*/ 6634150 w 12862702"/>
                <a:gd name="connsiteY1" fmla="*/ 331075 h 4593512"/>
                <a:gd name="connsiteX2" fmla="*/ 7004640 w 12862702"/>
                <a:gd name="connsiteY2" fmla="*/ 1403131 h 4593512"/>
                <a:gd name="connsiteX3" fmla="*/ 4040723 w 12862702"/>
                <a:gd name="connsiteY3" fmla="*/ 2309648 h 4593512"/>
                <a:gd name="connsiteX4" fmla="*/ 4466392 w 12862702"/>
                <a:gd name="connsiteY4" fmla="*/ 3846786 h 4593512"/>
                <a:gd name="connsiteX5" fmla="*/ 10354812 w 12862702"/>
                <a:gd name="connsiteY5" fmla="*/ 4469524 h 4593512"/>
                <a:gd name="connsiteX6" fmla="*/ 12845764 w 12862702"/>
                <a:gd name="connsiteY6" fmla="*/ 4587765 h 4593512"/>
                <a:gd name="connsiteX7" fmla="*/ 12837881 w 12862702"/>
                <a:gd name="connsiteY7" fmla="*/ 3783724 h 4593512"/>
                <a:gd name="connsiteX8" fmla="*/ 4868412 w 12862702"/>
                <a:gd name="connsiteY8" fmla="*/ 3003331 h 4593512"/>
                <a:gd name="connsiteX9" fmla="*/ 6137536 w 12862702"/>
                <a:gd name="connsiteY9" fmla="*/ 2262351 h 4593512"/>
                <a:gd name="connsiteX10" fmla="*/ 7635261 w 12862702"/>
                <a:gd name="connsiteY10" fmla="*/ 1679028 h 4593512"/>
                <a:gd name="connsiteX11" fmla="*/ 8029400 w 12862702"/>
                <a:gd name="connsiteY11" fmla="*/ 733096 h 4593512"/>
                <a:gd name="connsiteX12" fmla="*/ 7044054 w 12862702"/>
                <a:gd name="connsiteY12" fmla="*/ 39413 h 4593512"/>
                <a:gd name="connsiteX13" fmla="*/ 517129 w 12862702"/>
                <a:gd name="connsiteY13" fmla="*/ 0 h 4593512"/>
                <a:gd name="connsiteX14" fmla="*/ 517129 w 12862702"/>
                <a:gd name="connsiteY14" fmla="*/ 220717 h 4593512"/>
                <a:gd name="connsiteX15" fmla="*/ 729964 w 12862702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635261 w 12845764"/>
                <a:gd name="connsiteY10" fmla="*/ 1679028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390895 w 12845764"/>
                <a:gd name="connsiteY10" fmla="*/ 1773621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414543 w 12845764"/>
                <a:gd name="connsiteY10" fmla="*/ 1789386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729964 w 12845764"/>
                <a:gd name="connsiteY0" fmla="*/ 189186 h 4593512"/>
                <a:gd name="connsiteX1" fmla="*/ 6634150 w 12845764"/>
                <a:gd name="connsiteY1" fmla="*/ 331075 h 4593512"/>
                <a:gd name="connsiteX2" fmla="*/ 7004640 w 12845764"/>
                <a:gd name="connsiteY2" fmla="*/ 1403131 h 4593512"/>
                <a:gd name="connsiteX3" fmla="*/ 4040723 w 12845764"/>
                <a:gd name="connsiteY3" fmla="*/ 2309648 h 4593512"/>
                <a:gd name="connsiteX4" fmla="*/ 4466392 w 12845764"/>
                <a:gd name="connsiteY4" fmla="*/ 3846786 h 4593512"/>
                <a:gd name="connsiteX5" fmla="*/ 10354812 w 12845764"/>
                <a:gd name="connsiteY5" fmla="*/ 4469524 h 4593512"/>
                <a:gd name="connsiteX6" fmla="*/ 12845764 w 12845764"/>
                <a:gd name="connsiteY6" fmla="*/ 4587765 h 4593512"/>
                <a:gd name="connsiteX7" fmla="*/ 12837881 w 12845764"/>
                <a:gd name="connsiteY7" fmla="*/ 3783724 h 4593512"/>
                <a:gd name="connsiteX8" fmla="*/ 4868412 w 12845764"/>
                <a:gd name="connsiteY8" fmla="*/ 3003331 h 4593512"/>
                <a:gd name="connsiteX9" fmla="*/ 6137536 w 12845764"/>
                <a:gd name="connsiteY9" fmla="*/ 2262351 h 4593512"/>
                <a:gd name="connsiteX10" fmla="*/ 7414543 w 12845764"/>
                <a:gd name="connsiteY10" fmla="*/ 1789386 h 4593512"/>
                <a:gd name="connsiteX11" fmla="*/ 8029400 w 12845764"/>
                <a:gd name="connsiteY11" fmla="*/ 733096 h 4593512"/>
                <a:gd name="connsiteX12" fmla="*/ 7044054 w 12845764"/>
                <a:gd name="connsiteY12" fmla="*/ 39413 h 4593512"/>
                <a:gd name="connsiteX13" fmla="*/ 517129 w 12845764"/>
                <a:gd name="connsiteY13" fmla="*/ 0 h 4593512"/>
                <a:gd name="connsiteX14" fmla="*/ 517129 w 12845764"/>
                <a:gd name="connsiteY14" fmla="*/ 220717 h 4593512"/>
                <a:gd name="connsiteX15" fmla="*/ 729964 w 12845764"/>
                <a:gd name="connsiteY15" fmla="*/ 189186 h 4593512"/>
                <a:gd name="connsiteX0" fmla="*/ 892787 w 13008587"/>
                <a:gd name="connsiteY0" fmla="*/ 189186 h 4593512"/>
                <a:gd name="connsiteX1" fmla="*/ 6796973 w 13008587"/>
                <a:gd name="connsiteY1" fmla="*/ 331075 h 4593512"/>
                <a:gd name="connsiteX2" fmla="*/ 7167463 w 13008587"/>
                <a:gd name="connsiteY2" fmla="*/ 1403131 h 4593512"/>
                <a:gd name="connsiteX3" fmla="*/ 4203546 w 13008587"/>
                <a:gd name="connsiteY3" fmla="*/ 2309648 h 4593512"/>
                <a:gd name="connsiteX4" fmla="*/ 4629215 w 13008587"/>
                <a:gd name="connsiteY4" fmla="*/ 3846786 h 4593512"/>
                <a:gd name="connsiteX5" fmla="*/ 10517635 w 13008587"/>
                <a:gd name="connsiteY5" fmla="*/ 4469524 h 4593512"/>
                <a:gd name="connsiteX6" fmla="*/ 13008587 w 13008587"/>
                <a:gd name="connsiteY6" fmla="*/ 4587765 h 4593512"/>
                <a:gd name="connsiteX7" fmla="*/ 13000704 w 13008587"/>
                <a:gd name="connsiteY7" fmla="*/ 3783724 h 4593512"/>
                <a:gd name="connsiteX8" fmla="*/ 5031235 w 13008587"/>
                <a:gd name="connsiteY8" fmla="*/ 3003331 h 4593512"/>
                <a:gd name="connsiteX9" fmla="*/ 6300359 w 13008587"/>
                <a:gd name="connsiteY9" fmla="*/ 2262351 h 4593512"/>
                <a:gd name="connsiteX10" fmla="*/ 7577366 w 13008587"/>
                <a:gd name="connsiteY10" fmla="*/ 1789386 h 4593512"/>
                <a:gd name="connsiteX11" fmla="*/ 8192223 w 13008587"/>
                <a:gd name="connsiteY11" fmla="*/ 733096 h 4593512"/>
                <a:gd name="connsiteX12" fmla="*/ 7206877 w 13008587"/>
                <a:gd name="connsiteY12" fmla="*/ 39413 h 4593512"/>
                <a:gd name="connsiteX13" fmla="*/ 679952 w 13008587"/>
                <a:gd name="connsiteY13" fmla="*/ 0 h 4593512"/>
                <a:gd name="connsiteX14" fmla="*/ 892787 w 13008587"/>
                <a:gd name="connsiteY14" fmla="*/ 189186 h 4593512"/>
                <a:gd name="connsiteX0" fmla="*/ 892787 w 13008587"/>
                <a:gd name="connsiteY0" fmla="*/ 189186 h 4593512"/>
                <a:gd name="connsiteX1" fmla="*/ 6796973 w 13008587"/>
                <a:gd name="connsiteY1" fmla="*/ 331075 h 4593512"/>
                <a:gd name="connsiteX2" fmla="*/ 7167463 w 13008587"/>
                <a:gd name="connsiteY2" fmla="*/ 1403131 h 4593512"/>
                <a:gd name="connsiteX3" fmla="*/ 4203546 w 13008587"/>
                <a:gd name="connsiteY3" fmla="*/ 2309648 h 4593512"/>
                <a:gd name="connsiteX4" fmla="*/ 4629215 w 13008587"/>
                <a:gd name="connsiteY4" fmla="*/ 3846786 h 4593512"/>
                <a:gd name="connsiteX5" fmla="*/ 10517635 w 13008587"/>
                <a:gd name="connsiteY5" fmla="*/ 4469524 h 4593512"/>
                <a:gd name="connsiteX6" fmla="*/ 13008587 w 13008587"/>
                <a:gd name="connsiteY6" fmla="*/ 4587765 h 4593512"/>
                <a:gd name="connsiteX7" fmla="*/ 13000704 w 13008587"/>
                <a:gd name="connsiteY7" fmla="*/ 3783724 h 4593512"/>
                <a:gd name="connsiteX8" fmla="*/ 5031235 w 13008587"/>
                <a:gd name="connsiteY8" fmla="*/ 3003331 h 4593512"/>
                <a:gd name="connsiteX9" fmla="*/ 6300359 w 13008587"/>
                <a:gd name="connsiteY9" fmla="*/ 2262351 h 4593512"/>
                <a:gd name="connsiteX10" fmla="*/ 7577366 w 13008587"/>
                <a:gd name="connsiteY10" fmla="*/ 1789386 h 4593512"/>
                <a:gd name="connsiteX11" fmla="*/ 8192223 w 13008587"/>
                <a:gd name="connsiteY11" fmla="*/ 733096 h 4593512"/>
                <a:gd name="connsiteX12" fmla="*/ 7206877 w 13008587"/>
                <a:gd name="connsiteY12" fmla="*/ 39413 h 4593512"/>
                <a:gd name="connsiteX13" fmla="*/ 679952 w 13008587"/>
                <a:gd name="connsiteY13" fmla="*/ 0 h 4593512"/>
                <a:gd name="connsiteX14" fmla="*/ 892787 w 13008587"/>
                <a:gd name="connsiteY14" fmla="*/ 189186 h 4593512"/>
                <a:gd name="connsiteX0" fmla="*/ 631578 w 12747378"/>
                <a:gd name="connsiteY0" fmla="*/ 189186 h 4593512"/>
                <a:gd name="connsiteX1" fmla="*/ 6535764 w 12747378"/>
                <a:gd name="connsiteY1" fmla="*/ 331075 h 4593512"/>
                <a:gd name="connsiteX2" fmla="*/ 6906254 w 12747378"/>
                <a:gd name="connsiteY2" fmla="*/ 1403131 h 4593512"/>
                <a:gd name="connsiteX3" fmla="*/ 3942337 w 12747378"/>
                <a:gd name="connsiteY3" fmla="*/ 2309648 h 4593512"/>
                <a:gd name="connsiteX4" fmla="*/ 4368006 w 12747378"/>
                <a:gd name="connsiteY4" fmla="*/ 3846786 h 4593512"/>
                <a:gd name="connsiteX5" fmla="*/ 10256426 w 12747378"/>
                <a:gd name="connsiteY5" fmla="*/ 4469524 h 4593512"/>
                <a:gd name="connsiteX6" fmla="*/ 12747378 w 12747378"/>
                <a:gd name="connsiteY6" fmla="*/ 4587765 h 4593512"/>
                <a:gd name="connsiteX7" fmla="*/ 12739495 w 12747378"/>
                <a:gd name="connsiteY7" fmla="*/ 3783724 h 4593512"/>
                <a:gd name="connsiteX8" fmla="*/ 4770026 w 12747378"/>
                <a:gd name="connsiteY8" fmla="*/ 3003331 h 4593512"/>
                <a:gd name="connsiteX9" fmla="*/ 6039150 w 12747378"/>
                <a:gd name="connsiteY9" fmla="*/ 2262351 h 4593512"/>
                <a:gd name="connsiteX10" fmla="*/ 7316157 w 12747378"/>
                <a:gd name="connsiteY10" fmla="*/ 1789386 h 4593512"/>
                <a:gd name="connsiteX11" fmla="*/ 7931014 w 12747378"/>
                <a:gd name="connsiteY11" fmla="*/ 733096 h 4593512"/>
                <a:gd name="connsiteX12" fmla="*/ 6945668 w 12747378"/>
                <a:gd name="connsiteY12" fmla="*/ 39413 h 4593512"/>
                <a:gd name="connsiteX13" fmla="*/ 418743 w 12747378"/>
                <a:gd name="connsiteY13" fmla="*/ 0 h 4593512"/>
                <a:gd name="connsiteX14" fmla="*/ 631578 w 12747378"/>
                <a:gd name="connsiteY14" fmla="*/ 189186 h 4593512"/>
                <a:gd name="connsiteX0" fmla="*/ 212835 w 12328635"/>
                <a:gd name="connsiteY0" fmla="*/ 189186 h 4593512"/>
                <a:gd name="connsiteX1" fmla="*/ 6117021 w 12328635"/>
                <a:gd name="connsiteY1" fmla="*/ 331075 h 4593512"/>
                <a:gd name="connsiteX2" fmla="*/ 6487511 w 12328635"/>
                <a:gd name="connsiteY2" fmla="*/ 1403131 h 4593512"/>
                <a:gd name="connsiteX3" fmla="*/ 3523594 w 12328635"/>
                <a:gd name="connsiteY3" fmla="*/ 2309648 h 4593512"/>
                <a:gd name="connsiteX4" fmla="*/ 3949263 w 12328635"/>
                <a:gd name="connsiteY4" fmla="*/ 3846786 h 4593512"/>
                <a:gd name="connsiteX5" fmla="*/ 9837683 w 12328635"/>
                <a:gd name="connsiteY5" fmla="*/ 4469524 h 4593512"/>
                <a:gd name="connsiteX6" fmla="*/ 12328635 w 12328635"/>
                <a:gd name="connsiteY6" fmla="*/ 4587765 h 4593512"/>
                <a:gd name="connsiteX7" fmla="*/ 12320752 w 12328635"/>
                <a:gd name="connsiteY7" fmla="*/ 3783724 h 4593512"/>
                <a:gd name="connsiteX8" fmla="*/ 4351283 w 12328635"/>
                <a:gd name="connsiteY8" fmla="*/ 3003331 h 4593512"/>
                <a:gd name="connsiteX9" fmla="*/ 5620407 w 12328635"/>
                <a:gd name="connsiteY9" fmla="*/ 2262351 h 4593512"/>
                <a:gd name="connsiteX10" fmla="*/ 6897414 w 12328635"/>
                <a:gd name="connsiteY10" fmla="*/ 1789386 h 4593512"/>
                <a:gd name="connsiteX11" fmla="*/ 7512271 w 12328635"/>
                <a:gd name="connsiteY11" fmla="*/ 733096 h 4593512"/>
                <a:gd name="connsiteX12" fmla="*/ 6526925 w 12328635"/>
                <a:gd name="connsiteY12" fmla="*/ 39413 h 4593512"/>
                <a:gd name="connsiteX13" fmla="*/ 0 w 12328635"/>
                <a:gd name="connsiteY13" fmla="*/ 0 h 4593512"/>
                <a:gd name="connsiteX14" fmla="*/ 212835 w 12328635"/>
                <a:gd name="connsiteY14" fmla="*/ 189186 h 4593512"/>
                <a:gd name="connsiteX0" fmla="*/ 31531 w 12328635"/>
                <a:gd name="connsiteY0" fmla="*/ 189186 h 4593512"/>
                <a:gd name="connsiteX1" fmla="*/ 6117021 w 12328635"/>
                <a:gd name="connsiteY1" fmla="*/ 331075 h 4593512"/>
                <a:gd name="connsiteX2" fmla="*/ 6487511 w 12328635"/>
                <a:gd name="connsiteY2" fmla="*/ 1403131 h 4593512"/>
                <a:gd name="connsiteX3" fmla="*/ 3523594 w 12328635"/>
                <a:gd name="connsiteY3" fmla="*/ 2309648 h 4593512"/>
                <a:gd name="connsiteX4" fmla="*/ 3949263 w 12328635"/>
                <a:gd name="connsiteY4" fmla="*/ 3846786 h 4593512"/>
                <a:gd name="connsiteX5" fmla="*/ 9837683 w 12328635"/>
                <a:gd name="connsiteY5" fmla="*/ 4469524 h 4593512"/>
                <a:gd name="connsiteX6" fmla="*/ 12328635 w 12328635"/>
                <a:gd name="connsiteY6" fmla="*/ 4587765 h 4593512"/>
                <a:gd name="connsiteX7" fmla="*/ 12320752 w 12328635"/>
                <a:gd name="connsiteY7" fmla="*/ 3783724 h 4593512"/>
                <a:gd name="connsiteX8" fmla="*/ 4351283 w 12328635"/>
                <a:gd name="connsiteY8" fmla="*/ 3003331 h 4593512"/>
                <a:gd name="connsiteX9" fmla="*/ 5620407 w 12328635"/>
                <a:gd name="connsiteY9" fmla="*/ 2262351 h 4593512"/>
                <a:gd name="connsiteX10" fmla="*/ 6897414 w 12328635"/>
                <a:gd name="connsiteY10" fmla="*/ 1789386 h 4593512"/>
                <a:gd name="connsiteX11" fmla="*/ 7512271 w 12328635"/>
                <a:gd name="connsiteY11" fmla="*/ 733096 h 4593512"/>
                <a:gd name="connsiteX12" fmla="*/ 6526925 w 12328635"/>
                <a:gd name="connsiteY12" fmla="*/ 39413 h 4593512"/>
                <a:gd name="connsiteX13" fmla="*/ 0 w 12328635"/>
                <a:gd name="connsiteY13" fmla="*/ 0 h 4593512"/>
                <a:gd name="connsiteX14" fmla="*/ 31531 w 12328635"/>
                <a:gd name="connsiteY14" fmla="*/ 189186 h 4593512"/>
                <a:gd name="connsiteX0" fmla="*/ 216 w 12297320"/>
                <a:gd name="connsiteY0" fmla="*/ 402021 h 4806347"/>
                <a:gd name="connsiteX1" fmla="*/ 6085706 w 12297320"/>
                <a:gd name="connsiteY1" fmla="*/ 543910 h 4806347"/>
                <a:gd name="connsiteX2" fmla="*/ 6456196 w 12297320"/>
                <a:gd name="connsiteY2" fmla="*/ 1615966 h 4806347"/>
                <a:gd name="connsiteX3" fmla="*/ 3492279 w 12297320"/>
                <a:gd name="connsiteY3" fmla="*/ 2522483 h 4806347"/>
                <a:gd name="connsiteX4" fmla="*/ 3917948 w 12297320"/>
                <a:gd name="connsiteY4" fmla="*/ 4059621 h 4806347"/>
                <a:gd name="connsiteX5" fmla="*/ 9806368 w 12297320"/>
                <a:gd name="connsiteY5" fmla="*/ 4682359 h 4806347"/>
                <a:gd name="connsiteX6" fmla="*/ 12297320 w 12297320"/>
                <a:gd name="connsiteY6" fmla="*/ 4800600 h 4806347"/>
                <a:gd name="connsiteX7" fmla="*/ 12289437 w 12297320"/>
                <a:gd name="connsiteY7" fmla="*/ 3996559 h 4806347"/>
                <a:gd name="connsiteX8" fmla="*/ 4319968 w 12297320"/>
                <a:gd name="connsiteY8" fmla="*/ 3216166 h 4806347"/>
                <a:gd name="connsiteX9" fmla="*/ 5589092 w 12297320"/>
                <a:gd name="connsiteY9" fmla="*/ 2475186 h 4806347"/>
                <a:gd name="connsiteX10" fmla="*/ 6866099 w 12297320"/>
                <a:gd name="connsiteY10" fmla="*/ 2002221 h 4806347"/>
                <a:gd name="connsiteX11" fmla="*/ 7480956 w 12297320"/>
                <a:gd name="connsiteY11" fmla="*/ 945931 h 4806347"/>
                <a:gd name="connsiteX12" fmla="*/ 6495610 w 12297320"/>
                <a:gd name="connsiteY12" fmla="*/ 252248 h 4806347"/>
                <a:gd name="connsiteX13" fmla="*/ 15982 w 12297320"/>
                <a:gd name="connsiteY13" fmla="*/ 0 h 4806347"/>
                <a:gd name="connsiteX14" fmla="*/ 216 w 12297320"/>
                <a:gd name="connsiteY14" fmla="*/ 402021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465614 w 12281978"/>
                <a:gd name="connsiteY11" fmla="*/ 945931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465614 w 12281978"/>
                <a:gd name="connsiteY11" fmla="*/ 945931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520793 w 12281978"/>
                <a:gd name="connsiteY11" fmla="*/ 112723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480268 w 12281978"/>
                <a:gd name="connsiteY12" fmla="*/ 252248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243786 w 12281978"/>
                <a:gd name="connsiteY12" fmla="*/ 236483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5573750 w 12281978"/>
                <a:gd name="connsiteY9" fmla="*/ 2475186 h 4806347"/>
                <a:gd name="connsiteX10" fmla="*/ 6850757 w 12281978"/>
                <a:gd name="connsiteY10" fmla="*/ 2002221 h 4806347"/>
                <a:gd name="connsiteX11" fmla="*/ 7363138 w 12281978"/>
                <a:gd name="connsiteY11" fmla="*/ 1072054 h 4806347"/>
                <a:gd name="connsiteX12" fmla="*/ 6243786 w 12281978"/>
                <a:gd name="connsiteY12" fmla="*/ 236483 h 4806347"/>
                <a:gd name="connsiteX13" fmla="*/ 640 w 12281978"/>
                <a:gd name="connsiteY13" fmla="*/ 0 h 4806347"/>
                <a:gd name="connsiteX14" fmla="*/ 640 w 12281978"/>
                <a:gd name="connsiteY14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850757 w 12281978"/>
                <a:gd name="connsiteY9" fmla="*/ 2002221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304626 w 12281978"/>
                <a:gd name="connsiteY8" fmla="*/ 3216166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6243786 w 12281978"/>
                <a:gd name="connsiteY11" fmla="*/ 236483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17661 w 12281978"/>
                <a:gd name="connsiteY9" fmla="*/ 2270235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996559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6347"/>
                <a:gd name="connsiteX1" fmla="*/ 6070364 w 12281978"/>
                <a:gd name="connsiteY1" fmla="*/ 543910 h 4806347"/>
                <a:gd name="connsiteX2" fmla="*/ 6440854 w 12281978"/>
                <a:gd name="connsiteY2" fmla="*/ 1615966 h 4806347"/>
                <a:gd name="connsiteX3" fmla="*/ 3476937 w 12281978"/>
                <a:gd name="connsiteY3" fmla="*/ 2522483 h 4806347"/>
                <a:gd name="connsiteX4" fmla="*/ 3902606 w 12281978"/>
                <a:gd name="connsiteY4" fmla="*/ 4059621 h 4806347"/>
                <a:gd name="connsiteX5" fmla="*/ 9791026 w 12281978"/>
                <a:gd name="connsiteY5" fmla="*/ 4682359 h 4806347"/>
                <a:gd name="connsiteX6" fmla="*/ 12281978 w 12281978"/>
                <a:gd name="connsiteY6" fmla="*/ 4800600 h 4806347"/>
                <a:gd name="connsiteX7" fmla="*/ 12274095 w 12281978"/>
                <a:gd name="connsiteY7" fmla="*/ 3831021 h 4806347"/>
                <a:gd name="connsiteX8" fmla="*/ 4202151 w 12281978"/>
                <a:gd name="connsiteY8" fmla="*/ 3105807 h 4806347"/>
                <a:gd name="connsiteX9" fmla="*/ 6109778 w 12281978"/>
                <a:gd name="connsiteY9" fmla="*/ 2230821 h 4806347"/>
                <a:gd name="connsiteX10" fmla="*/ 7363138 w 12281978"/>
                <a:gd name="connsiteY10" fmla="*/ 1072054 h 4806347"/>
                <a:gd name="connsiteX11" fmla="*/ 5731406 w 12281978"/>
                <a:gd name="connsiteY11" fmla="*/ 189186 h 4806347"/>
                <a:gd name="connsiteX12" fmla="*/ 640 w 12281978"/>
                <a:gd name="connsiteY12" fmla="*/ 0 h 4806347"/>
                <a:gd name="connsiteX13" fmla="*/ 640 w 12281978"/>
                <a:gd name="connsiteY13" fmla="*/ 204952 h 4806347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09778 w 12281978"/>
                <a:gd name="connsiteY9" fmla="*/ 2230821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02151 w 12281978"/>
                <a:gd name="connsiteY8" fmla="*/ 3105807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640 w 12281978"/>
                <a:gd name="connsiteY0" fmla="*/ 204952 h 4800600"/>
                <a:gd name="connsiteX1" fmla="*/ 6070364 w 12281978"/>
                <a:gd name="connsiteY1" fmla="*/ 543910 h 4800600"/>
                <a:gd name="connsiteX2" fmla="*/ 6440854 w 12281978"/>
                <a:gd name="connsiteY2" fmla="*/ 1615966 h 4800600"/>
                <a:gd name="connsiteX3" fmla="*/ 3476937 w 12281978"/>
                <a:gd name="connsiteY3" fmla="*/ 2522483 h 4800600"/>
                <a:gd name="connsiteX4" fmla="*/ 3902606 w 12281978"/>
                <a:gd name="connsiteY4" fmla="*/ 4059621 h 4800600"/>
                <a:gd name="connsiteX5" fmla="*/ 9791026 w 12281978"/>
                <a:gd name="connsiteY5" fmla="*/ 4682359 h 4800600"/>
                <a:gd name="connsiteX6" fmla="*/ 12281978 w 12281978"/>
                <a:gd name="connsiteY6" fmla="*/ 4800600 h 4800600"/>
                <a:gd name="connsiteX7" fmla="*/ 12274095 w 12281978"/>
                <a:gd name="connsiteY7" fmla="*/ 3831021 h 4800600"/>
                <a:gd name="connsiteX8" fmla="*/ 4225799 w 12281978"/>
                <a:gd name="connsiteY8" fmla="*/ 3042745 h 4800600"/>
                <a:gd name="connsiteX9" fmla="*/ 6117661 w 12281978"/>
                <a:gd name="connsiteY9" fmla="*/ 2278118 h 4800600"/>
                <a:gd name="connsiteX10" fmla="*/ 7363138 w 12281978"/>
                <a:gd name="connsiteY10" fmla="*/ 1072054 h 4800600"/>
                <a:gd name="connsiteX11" fmla="*/ 5731406 w 12281978"/>
                <a:gd name="connsiteY11" fmla="*/ 189186 h 4800600"/>
                <a:gd name="connsiteX12" fmla="*/ 640 w 12281978"/>
                <a:gd name="connsiteY12" fmla="*/ 0 h 4800600"/>
                <a:gd name="connsiteX13" fmla="*/ 640 w 12281978"/>
                <a:gd name="connsiteY13" fmla="*/ 204952 h 4800600"/>
                <a:gd name="connsiteX0" fmla="*/ 37707 w 12281338"/>
                <a:gd name="connsiteY0" fmla="*/ 249916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476297 w 12281338"/>
                <a:gd name="connsiteY3" fmla="*/ 2522483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37707 w 12281338"/>
                <a:gd name="connsiteY13" fmla="*/ 249916 h 4800600"/>
                <a:gd name="connsiteX0" fmla="*/ 9427 w 12281338"/>
                <a:gd name="connsiteY0" fmla="*/ 261157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476297 w 12281338"/>
                <a:gd name="connsiteY3" fmla="*/ 2522483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9427 w 12281338"/>
                <a:gd name="connsiteY13" fmla="*/ 261157 h 4800600"/>
                <a:gd name="connsiteX0" fmla="*/ 9427 w 12281338"/>
                <a:gd name="connsiteY0" fmla="*/ 261157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476297 w 12281338"/>
                <a:gd name="connsiteY3" fmla="*/ 2522483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9427 w 12281338"/>
                <a:gd name="connsiteY13" fmla="*/ 261157 h 4800600"/>
                <a:gd name="connsiteX0" fmla="*/ 9427 w 12281338"/>
                <a:gd name="connsiteY0" fmla="*/ 261157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476297 w 12281338"/>
                <a:gd name="connsiteY3" fmla="*/ 2522483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9427 w 12281338"/>
                <a:gd name="connsiteY13" fmla="*/ 261157 h 4800600"/>
                <a:gd name="connsiteX0" fmla="*/ 9427 w 12281338"/>
                <a:gd name="connsiteY0" fmla="*/ 261157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476297 w 12281338"/>
                <a:gd name="connsiteY3" fmla="*/ 2522483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9427 w 12281338"/>
                <a:gd name="connsiteY13" fmla="*/ 261157 h 4800600"/>
                <a:gd name="connsiteX0" fmla="*/ 9427 w 12281338"/>
                <a:gd name="connsiteY0" fmla="*/ 261157 h 4800600"/>
                <a:gd name="connsiteX1" fmla="*/ 6069724 w 12281338"/>
                <a:gd name="connsiteY1" fmla="*/ 543910 h 4800600"/>
                <a:gd name="connsiteX2" fmla="*/ 6440214 w 12281338"/>
                <a:gd name="connsiteY2" fmla="*/ 1615966 h 4800600"/>
                <a:gd name="connsiteX3" fmla="*/ 3523431 w 12281338"/>
                <a:gd name="connsiteY3" fmla="*/ 2567448 h 4800600"/>
                <a:gd name="connsiteX4" fmla="*/ 3901966 w 12281338"/>
                <a:gd name="connsiteY4" fmla="*/ 4059621 h 4800600"/>
                <a:gd name="connsiteX5" fmla="*/ 9790386 w 12281338"/>
                <a:gd name="connsiteY5" fmla="*/ 4682359 h 4800600"/>
                <a:gd name="connsiteX6" fmla="*/ 12281338 w 12281338"/>
                <a:gd name="connsiteY6" fmla="*/ 4800600 h 4800600"/>
                <a:gd name="connsiteX7" fmla="*/ 12273455 w 12281338"/>
                <a:gd name="connsiteY7" fmla="*/ 3831021 h 4800600"/>
                <a:gd name="connsiteX8" fmla="*/ 4225159 w 12281338"/>
                <a:gd name="connsiteY8" fmla="*/ 3042745 h 4800600"/>
                <a:gd name="connsiteX9" fmla="*/ 6117021 w 12281338"/>
                <a:gd name="connsiteY9" fmla="*/ 2278118 h 4800600"/>
                <a:gd name="connsiteX10" fmla="*/ 7362498 w 12281338"/>
                <a:gd name="connsiteY10" fmla="*/ 1072054 h 4800600"/>
                <a:gd name="connsiteX11" fmla="*/ 5730766 w 12281338"/>
                <a:gd name="connsiteY11" fmla="*/ 189186 h 4800600"/>
                <a:gd name="connsiteX12" fmla="*/ 0 w 12281338"/>
                <a:gd name="connsiteY12" fmla="*/ 0 h 4800600"/>
                <a:gd name="connsiteX13" fmla="*/ 9427 w 12281338"/>
                <a:gd name="connsiteY13" fmla="*/ 261157 h 4800600"/>
                <a:gd name="connsiteX0" fmla="*/ 9427 w 12281338"/>
                <a:gd name="connsiteY0" fmla="*/ 261157 h 4980457"/>
                <a:gd name="connsiteX1" fmla="*/ 6069724 w 12281338"/>
                <a:gd name="connsiteY1" fmla="*/ 543910 h 4980457"/>
                <a:gd name="connsiteX2" fmla="*/ 6440214 w 12281338"/>
                <a:gd name="connsiteY2" fmla="*/ 1615966 h 4980457"/>
                <a:gd name="connsiteX3" fmla="*/ 3523431 w 12281338"/>
                <a:gd name="connsiteY3" fmla="*/ 2567448 h 4980457"/>
                <a:gd name="connsiteX4" fmla="*/ 3901966 w 12281338"/>
                <a:gd name="connsiteY4" fmla="*/ 4059621 h 4980457"/>
                <a:gd name="connsiteX5" fmla="*/ 9790386 w 12281338"/>
                <a:gd name="connsiteY5" fmla="*/ 4682359 h 4980457"/>
                <a:gd name="connsiteX6" fmla="*/ 12281338 w 12281338"/>
                <a:gd name="connsiteY6" fmla="*/ 4980457 h 4980457"/>
                <a:gd name="connsiteX7" fmla="*/ 12273455 w 12281338"/>
                <a:gd name="connsiteY7" fmla="*/ 3831021 h 4980457"/>
                <a:gd name="connsiteX8" fmla="*/ 4225159 w 12281338"/>
                <a:gd name="connsiteY8" fmla="*/ 3042745 h 4980457"/>
                <a:gd name="connsiteX9" fmla="*/ 6117021 w 12281338"/>
                <a:gd name="connsiteY9" fmla="*/ 2278118 h 4980457"/>
                <a:gd name="connsiteX10" fmla="*/ 7362498 w 12281338"/>
                <a:gd name="connsiteY10" fmla="*/ 1072054 h 4980457"/>
                <a:gd name="connsiteX11" fmla="*/ 5730766 w 12281338"/>
                <a:gd name="connsiteY11" fmla="*/ 189186 h 4980457"/>
                <a:gd name="connsiteX12" fmla="*/ 0 w 12281338"/>
                <a:gd name="connsiteY12" fmla="*/ 0 h 4980457"/>
                <a:gd name="connsiteX13" fmla="*/ 9427 w 12281338"/>
                <a:gd name="connsiteY13" fmla="*/ 261157 h 4980457"/>
                <a:gd name="connsiteX0" fmla="*/ 9427 w 12281338"/>
                <a:gd name="connsiteY0" fmla="*/ 261157 h 4980457"/>
                <a:gd name="connsiteX1" fmla="*/ 6069724 w 12281338"/>
                <a:gd name="connsiteY1" fmla="*/ 543910 h 4980457"/>
                <a:gd name="connsiteX2" fmla="*/ 6440214 w 12281338"/>
                <a:gd name="connsiteY2" fmla="*/ 1615966 h 4980457"/>
                <a:gd name="connsiteX3" fmla="*/ 3523431 w 12281338"/>
                <a:gd name="connsiteY3" fmla="*/ 2567448 h 4980457"/>
                <a:gd name="connsiteX4" fmla="*/ 3901966 w 12281338"/>
                <a:gd name="connsiteY4" fmla="*/ 4059621 h 4980457"/>
                <a:gd name="connsiteX5" fmla="*/ 7876745 w 12281338"/>
                <a:gd name="connsiteY5" fmla="*/ 4558707 h 4980457"/>
                <a:gd name="connsiteX6" fmla="*/ 12281338 w 12281338"/>
                <a:gd name="connsiteY6" fmla="*/ 4980457 h 4980457"/>
                <a:gd name="connsiteX7" fmla="*/ 12273455 w 12281338"/>
                <a:gd name="connsiteY7" fmla="*/ 3831021 h 4980457"/>
                <a:gd name="connsiteX8" fmla="*/ 4225159 w 12281338"/>
                <a:gd name="connsiteY8" fmla="*/ 3042745 h 4980457"/>
                <a:gd name="connsiteX9" fmla="*/ 6117021 w 12281338"/>
                <a:gd name="connsiteY9" fmla="*/ 2278118 h 4980457"/>
                <a:gd name="connsiteX10" fmla="*/ 7362498 w 12281338"/>
                <a:gd name="connsiteY10" fmla="*/ 1072054 h 4980457"/>
                <a:gd name="connsiteX11" fmla="*/ 5730766 w 12281338"/>
                <a:gd name="connsiteY11" fmla="*/ 189186 h 4980457"/>
                <a:gd name="connsiteX12" fmla="*/ 0 w 12281338"/>
                <a:gd name="connsiteY12" fmla="*/ 0 h 4980457"/>
                <a:gd name="connsiteX13" fmla="*/ 9427 w 12281338"/>
                <a:gd name="connsiteY13" fmla="*/ 261157 h 4980457"/>
                <a:gd name="connsiteX0" fmla="*/ 9427 w 12281338"/>
                <a:gd name="connsiteY0" fmla="*/ 261157 h 4980457"/>
                <a:gd name="connsiteX1" fmla="*/ 6069724 w 12281338"/>
                <a:gd name="connsiteY1" fmla="*/ 543910 h 4980457"/>
                <a:gd name="connsiteX2" fmla="*/ 6440214 w 12281338"/>
                <a:gd name="connsiteY2" fmla="*/ 1615966 h 4980457"/>
                <a:gd name="connsiteX3" fmla="*/ 3523431 w 12281338"/>
                <a:gd name="connsiteY3" fmla="*/ 2567448 h 4980457"/>
                <a:gd name="connsiteX4" fmla="*/ 3901966 w 12281338"/>
                <a:gd name="connsiteY4" fmla="*/ 4059621 h 4980457"/>
                <a:gd name="connsiteX5" fmla="*/ 7876745 w 12281338"/>
                <a:gd name="connsiteY5" fmla="*/ 4558707 h 4980457"/>
                <a:gd name="connsiteX6" fmla="*/ 12281338 w 12281338"/>
                <a:gd name="connsiteY6" fmla="*/ 4980457 h 4980457"/>
                <a:gd name="connsiteX7" fmla="*/ 12273455 w 12281338"/>
                <a:gd name="connsiteY7" fmla="*/ 3831021 h 4980457"/>
                <a:gd name="connsiteX8" fmla="*/ 4225159 w 12281338"/>
                <a:gd name="connsiteY8" fmla="*/ 3042745 h 4980457"/>
                <a:gd name="connsiteX9" fmla="*/ 6117021 w 12281338"/>
                <a:gd name="connsiteY9" fmla="*/ 2278118 h 4980457"/>
                <a:gd name="connsiteX10" fmla="*/ 7362498 w 12281338"/>
                <a:gd name="connsiteY10" fmla="*/ 1072054 h 4980457"/>
                <a:gd name="connsiteX11" fmla="*/ 5730766 w 12281338"/>
                <a:gd name="connsiteY11" fmla="*/ 189186 h 4980457"/>
                <a:gd name="connsiteX12" fmla="*/ 0 w 12281338"/>
                <a:gd name="connsiteY12" fmla="*/ 0 h 4980457"/>
                <a:gd name="connsiteX13" fmla="*/ 9427 w 12281338"/>
                <a:gd name="connsiteY13" fmla="*/ 261157 h 4980457"/>
                <a:gd name="connsiteX0" fmla="*/ 9427 w 12281338"/>
                <a:gd name="connsiteY0" fmla="*/ 261157 h 4980457"/>
                <a:gd name="connsiteX1" fmla="*/ 6069724 w 12281338"/>
                <a:gd name="connsiteY1" fmla="*/ 543910 h 4980457"/>
                <a:gd name="connsiteX2" fmla="*/ 6440214 w 12281338"/>
                <a:gd name="connsiteY2" fmla="*/ 1615966 h 4980457"/>
                <a:gd name="connsiteX3" fmla="*/ 3523431 w 12281338"/>
                <a:gd name="connsiteY3" fmla="*/ 2567448 h 4980457"/>
                <a:gd name="connsiteX4" fmla="*/ 3901966 w 12281338"/>
                <a:gd name="connsiteY4" fmla="*/ 4059621 h 4980457"/>
                <a:gd name="connsiteX5" fmla="*/ 7876745 w 12281338"/>
                <a:gd name="connsiteY5" fmla="*/ 4558707 h 4980457"/>
                <a:gd name="connsiteX6" fmla="*/ 12281338 w 12281338"/>
                <a:gd name="connsiteY6" fmla="*/ 4980457 h 4980457"/>
                <a:gd name="connsiteX7" fmla="*/ 12273455 w 12281338"/>
                <a:gd name="connsiteY7" fmla="*/ 3831021 h 4980457"/>
                <a:gd name="connsiteX8" fmla="*/ 4225159 w 12281338"/>
                <a:gd name="connsiteY8" fmla="*/ 3042745 h 4980457"/>
                <a:gd name="connsiteX9" fmla="*/ 6117021 w 12281338"/>
                <a:gd name="connsiteY9" fmla="*/ 2278118 h 4980457"/>
                <a:gd name="connsiteX10" fmla="*/ 7362498 w 12281338"/>
                <a:gd name="connsiteY10" fmla="*/ 1072054 h 4980457"/>
                <a:gd name="connsiteX11" fmla="*/ 5730766 w 12281338"/>
                <a:gd name="connsiteY11" fmla="*/ 189186 h 4980457"/>
                <a:gd name="connsiteX12" fmla="*/ 0 w 12281338"/>
                <a:gd name="connsiteY12" fmla="*/ 0 h 4980457"/>
                <a:gd name="connsiteX13" fmla="*/ 9427 w 12281338"/>
                <a:gd name="connsiteY13" fmla="*/ 261157 h 4980457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876745 w 12273455"/>
                <a:gd name="connsiteY5" fmla="*/ 4558707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810758 w 12273455"/>
                <a:gd name="connsiteY5" fmla="*/ 4603671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810758 w 12273455"/>
                <a:gd name="connsiteY5" fmla="*/ 4603671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810758 w 12273455"/>
                <a:gd name="connsiteY5" fmla="*/ 4603671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440214 w 12273455"/>
                <a:gd name="connsiteY2" fmla="*/ 1615966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034862 w 12273455"/>
                <a:gd name="connsiteY2" fmla="*/ 1751358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034862 w 12273455"/>
                <a:gd name="connsiteY2" fmla="*/ 1751358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006582 w 12273455"/>
                <a:gd name="connsiteY2" fmla="*/ 1683661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006582 w 12273455"/>
                <a:gd name="connsiteY2" fmla="*/ 1683661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  <a:gd name="connsiteX0" fmla="*/ 9427 w 12273455"/>
                <a:gd name="connsiteY0" fmla="*/ 261157 h 5126590"/>
                <a:gd name="connsiteX1" fmla="*/ 6069724 w 12273455"/>
                <a:gd name="connsiteY1" fmla="*/ 543910 h 5126590"/>
                <a:gd name="connsiteX2" fmla="*/ 6006582 w 12273455"/>
                <a:gd name="connsiteY2" fmla="*/ 1683661 h 5126590"/>
                <a:gd name="connsiteX3" fmla="*/ 3523431 w 12273455"/>
                <a:gd name="connsiteY3" fmla="*/ 2567448 h 5126590"/>
                <a:gd name="connsiteX4" fmla="*/ 3901966 w 12273455"/>
                <a:gd name="connsiteY4" fmla="*/ 4059621 h 5126590"/>
                <a:gd name="connsiteX5" fmla="*/ 7782477 w 12273455"/>
                <a:gd name="connsiteY5" fmla="*/ 4671118 h 5126590"/>
                <a:gd name="connsiteX6" fmla="*/ 12271911 w 12273455"/>
                <a:gd name="connsiteY6" fmla="*/ 5126590 h 5126590"/>
                <a:gd name="connsiteX7" fmla="*/ 12273455 w 12273455"/>
                <a:gd name="connsiteY7" fmla="*/ 3831021 h 5126590"/>
                <a:gd name="connsiteX8" fmla="*/ 4225159 w 12273455"/>
                <a:gd name="connsiteY8" fmla="*/ 3042745 h 5126590"/>
                <a:gd name="connsiteX9" fmla="*/ 6117021 w 12273455"/>
                <a:gd name="connsiteY9" fmla="*/ 2278118 h 5126590"/>
                <a:gd name="connsiteX10" fmla="*/ 7362498 w 12273455"/>
                <a:gd name="connsiteY10" fmla="*/ 1072054 h 5126590"/>
                <a:gd name="connsiteX11" fmla="*/ 5730766 w 12273455"/>
                <a:gd name="connsiteY11" fmla="*/ 189186 h 5126590"/>
                <a:gd name="connsiteX12" fmla="*/ 0 w 12273455"/>
                <a:gd name="connsiteY12" fmla="*/ 0 h 5126590"/>
                <a:gd name="connsiteX13" fmla="*/ 9427 w 12273455"/>
                <a:gd name="connsiteY13" fmla="*/ 261157 h 512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73455" h="5126590">
                  <a:moveTo>
                    <a:pt x="9427" y="261157"/>
                  </a:moveTo>
                  <a:cubicBezTo>
                    <a:pt x="1028930" y="316336"/>
                    <a:pt x="5070198" y="306826"/>
                    <a:pt x="6069724" y="543910"/>
                  </a:cubicBezTo>
                  <a:cubicBezTo>
                    <a:pt x="7069250" y="780994"/>
                    <a:pt x="6562939" y="1481795"/>
                    <a:pt x="6006582" y="1683661"/>
                  </a:cubicBezTo>
                  <a:cubicBezTo>
                    <a:pt x="5450225" y="1885527"/>
                    <a:pt x="4053310" y="2198534"/>
                    <a:pt x="3523431" y="2567448"/>
                  </a:cubicBezTo>
                  <a:cubicBezTo>
                    <a:pt x="2993552" y="2936362"/>
                    <a:pt x="2975308" y="3742733"/>
                    <a:pt x="3901966" y="4059621"/>
                  </a:cubicBezTo>
                  <a:cubicBezTo>
                    <a:pt x="4828624" y="4376509"/>
                    <a:pt x="7612970" y="4639424"/>
                    <a:pt x="7782477" y="4671118"/>
                  </a:cubicBezTo>
                  <a:cubicBezTo>
                    <a:pt x="7951984" y="4702812"/>
                    <a:pt x="10803713" y="4986007"/>
                    <a:pt x="12271911" y="5126590"/>
                  </a:cubicBezTo>
                  <a:cubicBezTo>
                    <a:pt x="12267967" y="5043820"/>
                    <a:pt x="12270828" y="3882258"/>
                    <a:pt x="12273455" y="3831021"/>
                  </a:cubicBezTo>
                  <a:cubicBezTo>
                    <a:pt x="11661227" y="3771900"/>
                    <a:pt x="4264505" y="3352498"/>
                    <a:pt x="4225159" y="3042745"/>
                  </a:cubicBezTo>
                  <a:cubicBezTo>
                    <a:pt x="4185813" y="2732992"/>
                    <a:pt x="4976675" y="2641317"/>
                    <a:pt x="6117021" y="2278118"/>
                  </a:cubicBezTo>
                  <a:cubicBezTo>
                    <a:pt x="7257367" y="1914919"/>
                    <a:pt x="7390711" y="1475389"/>
                    <a:pt x="7362498" y="1072054"/>
                  </a:cubicBezTo>
                  <a:cubicBezTo>
                    <a:pt x="7334285" y="668719"/>
                    <a:pt x="7076091" y="296917"/>
                    <a:pt x="5730766" y="189186"/>
                  </a:cubicBezTo>
                  <a:cubicBezTo>
                    <a:pt x="4385441" y="81455"/>
                    <a:pt x="2175642" y="13138"/>
                    <a:pt x="0" y="0"/>
                  </a:cubicBezTo>
                  <a:cubicBezTo>
                    <a:pt x="3942" y="119555"/>
                    <a:pt x="6800" y="182330"/>
                    <a:pt x="9427" y="26115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199887"/>
                </a:gs>
                <a:gs pos="70000">
                  <a:srgbClr val="185B8B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59D3-A289-E2EC-443A-5B5B40A3B724}"/>
              </a:ext>
            </a:extLst>
          </p:cNvPr>
          <p:cNvGrpSpPr/>
          <p:nvPr/>
        </p:nvGrpSpPr>
        <p:grpSpPr>
          <a:xfrm>
            <a:off x="138360" y="2321801"/>
            <a:ext cx="564832" cy="413770"/>
            <a:chOff x="4628561" y="1714753"/>
            <a:chExt cx="761259" cy="55766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A7B1F46-3408-A835-BFF2-8F4195F09D4A}"/>
                </a:ext>
              </a:extLst>
            </p:cNvPr>
            <p:cNvSpPr/>
            <p:nvPr/>
          </p:nvSpPr>
          <p:spPr>
            <a:xfrm>
              <a:off x="4939645" y="1743959"/>
              <a:ext cx="45719" cy="5284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400"/>
            </a:p>
          </p:txBody>
        </p:sp>
        <p:sp>
          <p:nvSpPr>
            <p:cNvPr id="21" name="Arrow: Pentagon 20">
              <a:extLst>
                <a:ext uri="{FF2B5EF4-FFF2-40B4-BE49-F238E27FC236}">
                  <a16:creationId xmlns:a16="http://schemas.microsoft.com/office/drawing/2014/main" id="{3770F2F1-ECC4-B3ED-45CB-B87267D6A4E0}"/>
                </a:ext>
              </a:extLst>
            </p:cNvPr>
            <p:cNvSpPr/>
            <p:nvPr/>
          </p:nvSpPr>
          <p:spPr>
            <a:xfrm>
              <a:off x="4628561" y="1714753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8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E57DFC-085C-3EAB-5B10-09E9F542B2CD}"/>
              </a:ext>
            </a:extLst>
          </p:cNvPr>
          <p:cNvGrpSpPr/>
          <p:nvPr/>
        </p:nvGrpSpPr>
        <p:grpSpPr>
          <a:xfrm>
            <a:off x="3164983" y="2297763"/>
            <a:ext cx="605358" cy="457714"/>
            <a:chOff x="4628561" y="1696828"/>
            <a:chExt cx="761259" cy="57559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6B5E622-C410-D2E3-2EF0-B4412AC8BE48}"/>
                </a:ext>
              </a:extLst>
            </p:cNvPr>
            <p:cNvSpPr/>
            <p:nvPr/>
          </p:nvSpPr>
          <p:spPr>
            <a:xfrm>
              <a:off x="4939645" y="1743959"/>
              <a:ext cx="45719" cy="5284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400"/>
            </a:p>
          </p:txBody>
        </p:sp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716E2AF5-81FE-DA85-A76A-89E960EA823E}"/>
                </a:ext>
              </a:extLst>
            </p:cNvPr>
            <p:cNvSpPr/>
            <p:nvPr/>
          </p:nvSpPr>
          <p:spPr>
            <a:xfrm>
              <a:off x="4628561" y="1696828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91FAD06-4504-5D7B-30D9-5600DB264350}"/>
              </a:ext>
            </a:extLst>
          </p:cNvPr>
          <p:cNvGrpSpPr/>
          <p:nvPr/>
        </p:nvGrpSpPr>
        <p:grpSpPr>
          <a:xfrm>
            <a:off x="3950267" y="3920964"/>
            <a:ext cx="725060" cy="564684"/>
            <a:chOff x="4628561" y="1679548"/>
            <a:chExt cx="761259" cy="59287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5C147FE-DD55-C142-87F5-C944DE43A43E}"/>
                </a:ext>
              </a:extLst>
            </p:cNvPr>
            <p:cNvSpPr/>
            <p:nvPr/>
          </p:nvSpPr>
          <p:spPr>
            <a:xfrm>
              <a:off x="4939645" y="1743959"/>
              <a:ext cx="45719" cy="5284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600"/>
            </a:p>
          </p:txBody>
        </p:sp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id="{2B709D66-3C2D-00DA-30E8-3FC2B649C71B}"/>
                </a:ext>
              </a:extLst>
            </p:cNvPr>
            <p:cNvSpPr/>
            <p:nvPr/>
          </p:nvSpPr>
          <p:spPr>
            <a:xfrm>
              <a:off x="4628561" y="1679548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1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EAF2A20-D763-2FED-27F9-5C6FDDB9E8A8}"/>
              </a:ext>
            </a:extLst>
          </p:cNvPr>
          <p:cNvGrpSpPr/>
          <p:nvPr/>
        </p:nvGrpSpPr>
        <p:grpSpPr>
          <a:xfrm>
            <a:off x="5989084" y="4064947"/>
            <a:ext cx="725060" cy="564684"/>
            <a:chOff x="4103988" y="1679548"/>
            <a:chExt cx="761259" cy="59287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2FF3492-739F-EF8A-3B61-9029DF5316F2}"/>
                </a:ext>
              </a:extLst>
            </p:cNvPr>
            <p:cNvSpPr/>
            <p:nvPr/>
          </p:nvSpPr>
          <p:spPr>
            <a:xfrm>
              <a:off x="4415071" y="1743958"/>
              <a:ext cx="45719" cy="5284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600"/>
            </a:p>
          </p:txBody>
        </p:sp>
        <p:sp>
          <p:nvSpPr>
            <p:cNvPr id="33" name="Arrow: Pentagon 32">
              <a:extLst>
                <a:ext uri="{FF2B5EF4-FFF2-40B4-BE49-F238E27FC236}">
                  <a16:creationId xmlns:a16="http://schemas.microsoft.com/office/drawing/2014/main" id="{CFD2E904-96CB-674E-11E6-EF11EC075DB7}"/>
                </a:ext>
              </a:extLst>
            </p:cNvPr>
            <p:cNvSpPr/>
            <p:nvPr/>
          </p:nvSpPr>
          <p:spPr>
            <a:xfrm>
              <a:off x="4103988" y="1679548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2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DF10A88-CB2A-24C3-9919-89186265E6B2}"/>
              </a:ext>
            </a:extLst>
          </p:cNvPr>
          <p:cNvGrpSpPr/>
          <p:nvPr/>
        </p:nvGrpSpPr>
        <p:grpSpPr>
          <a:xfrm>
            <a:off x="9303141" y="4160833"/>
            <a:ext cx="792014" cy="627742"/>
            <a:chOff x="6057429" y="1719664"/>
            <a:chExt cx="761259" cy="60337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1A985D0-199C-8F83-B782-B7EE433F5FCA}"/>
                </a:ext>
              </a:extLst>
            </p:cNvPr>
            <p:cNvSpPr/>
            <p:nvPr/>
          </p:nvSpPr>
          <p:spPr>
            <a:xfrm>
              <a:off x="6368512" y="1794573"/>
              <a:ext cx="45719" cy="5284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600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10C64003-32C9-E81A-6AE3-D4DB754B48C5}"/>
                </a:ext>
              </a:extLst>
            </p:cNvPr>
            <p:cNvSpPr/>
            <p:nvPr/>
          </p:nvSpPr>
          <p:spPr>
            <a:xfrm>
              <a:off x="6057429" y="1719664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3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86F58F-DC05-319D-0D01-CE7CC9BBD08C}"/>
              </a:ext>
            </a:extLst>
          </p:cNvPr>
          <p:cNvGrpSpPr/>
          <p:nvPr/>
        </p:nvGrpSpPr>
        <p:grpSpPr>
          <a:xfrm>
            <a:off x="6564575" y="2551595"/>
            <a:ext cx="636436" cy="481212"/>
            <a:chOff x="4628561" y="1696828"/>
            <a:chExt cx="761259" cy="57559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569EABE-549E-44E2-A097-0E636D6A47C3}"/>
                </a:ext>
              </a:extLst>
            </p:cNvPr>
            <p:cNvSpPr/>
            <p:nvPr/>
          </p:nvSpPr>
          <p:spPr>
            <a:xfrm>
              <a:off x="4939645" y="1743959"/>
              <a:ext cx="45719" cy="5284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endParaRPr lang="ar-SA" sz="1600"/>
            </a:p>
          </p:txBody>
        </p:sp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id="{2B6C5C90-ADCB-C866-B186-987CF01F882E}"/>
                </a:ext>
              </a:extLst>
            </p:cNvPr>
            <p:cNvSpPr/>
            <p:nvPr/>
          </p:nvSpPr>
          <p:spPr>
            <a:xfrm>
              <a:off x="4628561" y="1696828"/>
              <a:ext cx="761259" cy="37707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1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</a:t>
              </a:r>
              <a:endParaRPr lang="ar-SA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2EB6338-5A50-072E-AFF1-1BCB667D91E8}"/>
              </a:ext>
            </a:extLst>
          </p:cNvPr>
          <p:cNvGrpSpPr/>
          <p:nvPr/>
        </p:nvGrpSpPr>
        <p:grpSpPr>
          <a:xfrm>
            <a:off x="4526106" y="3337733"/>
            <a:ext cx="1525222" cy="436718"/>
            <a:chOff x="7000939" y="3036814"/>
            <a:chExt cx="1387007" cy="413761"/>
          </a:xfrm>
        </p:grpSpPr>
        <p:pic>
          <p:nvPicPr>
            <p:cNvPr id="9" name="Picture 12" descr="PCH-logo - CyberPeace Institute">
              <a:extLst>
                <a:ext uri="{FF2B5EF4-FFF2-40B4-BE49-F238E27FC236}">
                  <a16:creationId xmlns:a16="http://schemas.microsoft.com/office/drawing/2014/main" id="{4D73886C-B978-7E8E-950B-51A2000E30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869" y="3036814"/>
              <a:ext cx="683077" cy="27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A Deeper Dive Into Public DNS Resolver Quad9 | Internet Society">
              <a:extLst>
                <a:ext uri="{FF2B5EF4-FFF2-40B4-BE49-F238E27FC236}">
                  <a16:creationId xmlns:a16="http://schemas.microsoft.com/office/drawing/2014/main" id="{9D9B9970-2906-E27D-0E24-A0500D79DC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0939" y="3036814"/>
              <a:ext cx="568874" cy="413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Isosceles Triangle 48">
            <a:extLst>
              <a:ext uri="{FF2B5EF4-FFF2-40B4-BE49-F238E27FC236}">
                <a16:creationId xmlns:a16="http://schemas.microsoft.com/office/drawing/2014/main" id="{93A7392C-5B6B-E35F-09BE-E153B3F812A5}"/>
              </a:ext>
            </a:extLst>
          </p:cNvPr>
          <p:cNvSpPr/>
          <p:nvPr/>
        </p:nvSpPr>
        <p:spPr>
          <a:xfrm rot="10800000">
            <a:off x="4234708" y="2501339"/>
            <a:ext cx="228365" cy="19686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pic>
        <p:nvPicPr>
          <p:cNvPr id="51" name="Picture 4" descr="RIPE NCC Logo — RIPE Network Coordination Centre">
            <a:extLst>
              <a:ext uri="{FF2B5EF4-FFF2-40B4-BE49-F238E27FC236}">
                <a16:creationId xmlns:a16="http://schemas.microsoft.com/office/drawing/2014/main" id="{ABEA01DD-A0B3-8682-EF23-5D8ACCFF56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576"/>
          <a:stretch/>
        </p:blipFill>
        <p:spPr bwMode="auto">
          <a:xfrm rot="10800000" flipV="1">
            <a:off x="5746151" y="2335138"/>
            <a:ext cx="379449" cy="37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ISC Logos - ISC">
            <a:extLst>
              <a:ext uri="{FF2B5EF4-FFF2-40B4-BE49-F238E27FC236}">
                <a16:creationId xmlns:a16="http://schemas.microsoft.com/office/drawing/2014/main" id="{DE087143-1C71-3E59-1E80-6CFB3FDA9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4" t="19031" r="14470" b="37853"/>
          <a:stretch/>
        </p:blipFill>
        <p:spPr bwMode="auto">
          <a:xfrm rot="10800000" flipH="1" flipV="1">
            <a:off x="5717375" y="1776009"/>
            <a:ext cx="486369" cy="38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18FE250B-2078-77C4-2E44-4503B4EA4ED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13" y="2277181"/>
            <a:ext cx="501146" cy="477077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1E2C28A-90CA-84F4-8713-46226085CD43}"/>
              </a:ext>
            </a:extLst>
          </p:cNvPr>
          <p:cNvSpPr txBox="1"/>
          <p:nvPr/>
        </p:nvSpPr>
        <p:spPr>
          <a:xfrm>
            <a:off x="4345053" y="5518414"/>
            <a:ext cx="101614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>
                <a:solidFill>
                  <a:srgbClr val="B0B9BE">
                    <a:lumMod val="50000"/>
                  </a:srgbClr>
                </a:solidFill>
              </a:rPr>
              <a:t>100 Gbps</a:t>
            </a:r>
          </a:p>
          <a:p>
            <a:pPr algn="ctr" defTabSz="457200"/>
            <a:r>
              <a:rPr lang="en-US" sz="1050" b="1" dirty="0">
                <a:solidFill>
                  <a:srgbClr val="B0B9BE">
                    <a:lumMod val="50000"/>
                  </a:srgbClr>
                </a:solidFill>
              </a:rPr>
              <a:t>PEEK</a:t>
            </a:r>
          </a:p>
          <a:p>
            <a:pPr algn="ctr" defTabSz="457200"/>
            <a:r>
              <a:rPr lang="en-US" sz="1050" b="1" dirty="0">
                <a:solidFill>
                  <a:srgbClr val="B0B9BE">
                    <a:lumMod val="50000"/>
                  </a:srgbClr>
                </a:solidFill>
              </a:rPr>
              <a:t>TRAFFIC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18816736-D24A-5689-59FC-2458A2EF4B46}"/>
              </a:ext>
            </a:extLst>
          </p:cNvPr>
          <p:cNvSpPr/>
          <p:nvPr/>
        </p:nvSpPr>
        <p:spPr>
          <a:xfrm>
            <a:off x="4737070" y="5292361"/>
            <a:ext cx="228365" cy="19686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pic>
        <p:nvPicPr>
          <p:cNvPr id="71" name="Picture 4" descr="ClouDNS.net Alternatives: 25+ Dynamic DNS Services and similar websites |  AlternativeTo">
            <a:extLst>
              <a:ext uri="{FF2B5EF4-FFF2-40B4-BE49-F238E27FC236}">
                <a16:creationId xmlns:a16="http://schemas.microsoft.com/office/drawing/2014/main" id="{BD3ACAAB-CE79-B932-2289-3964BE72A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9807" y="5407429"/>
            <a:ext cx="787904" cy="78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521E8B3A-3BD4-1327-A75C-F05F38272854}"/>
              </a:ext>
            </a:extLst>
          </p:cNvPr>
          <p:cNvGrpSpPr/>
          <p:nvPr/>
        </p:nvGrpSpPr>
        <p:grpSpPr>
          <a:xfrm>
            <a:off x="11041070" y="3982312"/>
            <a:ext cx="1016147" cy="808528"/>
            <a:chOff x="7322719" y="3842890"/>
            <a:chExt cx="1016147" cy="80852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BC4E9A2-E8C0-071A-7E4E-E552BCBBFFFF}"/>
                </a:ext>
              </a:extLst>
            </p:cNvPr>
            <p:cNvSpPr txBox="1"/>
            <p:nvPr/>
          </p:nvSpPr>
          <p:spPr>
            <a:xfrm>
              <a:off x="7322719" y="3842890"/>
              <a:ext cx="10161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B0B9BE">
                      <a:lumMod val="50000"/>
                    </a:srgbClr>
                  </a:solidFill>
                </a:rPr>
                <a:t>360 Gbps</a:t>
              </a:r>
            </a:p>
            <a:p>
              <a:pPr algn="ctr" defTabSz="457200"/>
              <a:r>
                <a:rPr lang="en-US" sz="1000" b="1" dirty="0">
                  <a:solidFill>
                    <a:srgbClr val="B0B9BE">
                      <a:lumMod val="50000"/>
                    </a:srgbClr>
                  </a:solidFill>
                </a:rPr>
                <a:t>PEAK</a:t>
              </a:r>
            </a:p>
            <a:p>
              <a:pPr algn="ctr" defTabSz="457200"/>
              <a:r>
                <a:rPr lang="en-US" sz="1000" b="1" dirty="0">
                  <a:solidFill>
                    <a:srgbClr val="B0B9BE">
                      <a:lumMod val="50000"/>
                    </a:srgbClr>
                  </a:solidFill>
                </a:rPr>
                <a:t>TRAFFIC</a:t>
              </a:r>
            </a:p>
          </p:txBody>
        </p:sp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D8C05519-266D-3573-4156-8EA0851188B9}"/>
                </a:ext>
              </a:extLst>
            </p:cNvPr>
            <p:cNvSpPr/>
            <p:nvPr/>
          </p:nvSpPr>
          <p:spPr>
            <a:xfrm rot="10800000">
              <a:off x="7714736" y="4454552"/>
              <a:ext cx="228365" cy="196866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</p:grpSp>
      <p:pic>
        <p:nvPicPr>
          <p:cNvPr id="92" name="Picture 4" descr="https://www.saix.sa/wp-content/uploads/2023/01/cdnetworks.png">
            <a:extLst>
              <a:ext uri="{FF2B5EF4-FFF2-40B4-BE49-F238E27FC236}">
                <a16:creationId xmlns:a16="http://schemas.microsoft.com/office/drawing/2014/main" id="{6FF8A909-9873-149D-D84D-5105456C61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19" t="29540" r="28128" b="28806"/>
          <a:stretch/>
        </p:blipFill>
        <p:spPr bwMode="auto">
          <a:xfrm>
            <a:off x="9824085" y="6070768"/>
            <a:ext cx="1029770" cy="237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8CB6ECBE-51C2-4106-9953-2B0DB22CA98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2011" y="4446282"/>
            <a:ext cx="945915" cy="296276"/>
          </a:xfrm>
          <a:prstGeom prst="rect">
            <a:avLst/>
          </a:prstGeom>
        </p:spPr>
      </p:pic>
      <p:pic>
        <p:nvPicPr>
          <p:cNvPr id="25602" name="Picture 2" descr="https://www.saix.sa/wp-content/uploads/2023/07/GCP_Logo-e1690443080540.png">
            <a:extLst>
              <a:ext uri="{FF2B5EF4-FFF2-40B4-BE49-F238E27FC236}">
                <a16:creationId xmlns:a16="http://schemas.microsoft.com/office/drawing/2014/main" id="{C1D83888-0585-4285-97CE-D6E3A244C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109" y="5682691"/>
            <a:ext cx="775199" cy="56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itle 7">
            <a:extLst>
              <a:ext uri="{FF2B5EF4-FFF2-40B4-BE49-F238E27FC236}">
                <a16:creationId xmlns:a16="http://schemas.microsoft.com/office/drawing/2014/main" id="{D3D738AD-F700-4A83-879C-178A42B82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76" y="180504"/>
            <a:ext cx="5600176" cy="646331"/>
          </a:xfrm>
        </p:spPr>
        <p:txBody>
          <a:bodyPr>
            <a:noAutofit/>
          </a:bodyPr>
          <a:lstStyle/>
          <a:p>
            <a:r>
              <a:rPr lang="en-US" sz="3600" b="1" dirty="0"/>
              <a:t>Summary of the Journey</a:t>
            </a:r>
          </a:p>
        </p:txBody>
      </p:sp>
      <p:sp>
        <p:nvSpPr>
          <p:cNvPr id="77" name="Minus Sign 76">
            <a:extLst>
              <a:ext uri="{FF2B5EF4-FFF2-40B4-BE49-F238E27FC236}">
                <a16:creationId xmlns:a16="http://schemas.microsoft.com/office/drawing/2014/main" id="{4ACB9984-92F7-498A-A89A-696650900943}"/>
              </a:ext>
            </a:extLst>
          </p:cNvPr>
          <p:cNvSpPr/>
          <p:nvPr/>
        </p:nvSpPr>
        <p:spPr>
          <a:xfrm>
            <a:off x="-2187915" y="900634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8" name="Picture 2" descr="https://go.com.sa/Resources/2/go-logo.png">
            <a:extLst>
              <a:ext uri="{FF2B5EF4-FFF2-40B4-BE49-F238E27FC236}">
                <a16:creationId xmlns:a16="http://schemas.microsoft.com/office/drawing/2014/main" id="{A982E995-F9EB-49F4-8843-287EF4E08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981" y="2307143"/>
            <a:ext cx="505951" cy="23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Salam - Personal">
            <a:extLst>
              <a:ext uri="{FF2B5EF4-FFF2-40B4-BE49-F238E27FC236}">
                <a16:creationId xmlns:a16="http://schemas.microsoft.com/office/drawing/2014/main" id="{07B55164-8885-46B5-A7BA-65C07C7668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22" y="2110070"/>
            <a:ext cx="531972" cy="55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6" descr="ملف:Stc-logo.png - ويكيبيديا">
            <a:extLst>
              <a:ext uri="{FF2B5EF4-FFF2-40B4-BE49-F238E27FC236}">
                <a16:creationId xmlns:a16="http://schemas.microsoft.com/office/drawing/2014/main" id="{8B8AD855-752F-45DA-B053-7C39D6A0F7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882" y="2963857"/>
            <a:ext cx="608376" cy="304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F6D8D8C-38EE-4386-BA37-8CCB8425E86F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3700" y="2927135"/>
            <a:ext cx="438999" cy="463669"/>
          </a:xfrm>
          <a:prstGeom prst="rect">
            <a:avLst/>
          </a:prstGeom>
        </p:spPr>
      </p:pic>
      <p:pic>
        <p:nvPicPr>
          <p:cNvPr id="85" name="Picture 2" descr="Download Mobily Logo PNG and Vector (PDF, SVG, Ai, EPS) Free">
            <a:extLst>
              <a:ext uri="{FF2B5EF4-FFF2-40B4-BE49-F238E27FC236}">
                <a16:creationId xmlns:a16="http://schemas.microsoft.com/office/drawing/2014/main" id="{BCAF1330-9AF1-4906-86BB-EE61E82F2C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7" t="7017" r="27946" b="26131"/>
          <a:stretch/>
        </p:blipFill>
        <p:spPr bwMode="auto">
          <a:xfrm>
            <a:off x="1333440" y="2183713"/>
            <a:ext cx="41903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EC27EA7D-4FD0-4371-9BE6-002E5D99C75E}"/>
              </a:ext>
            </a:extLst>
          </p:cNvPr>
          <p:cNvGrpSpPr/>
          <p:nvPr/>
        </p:nvGrpSpPr>
        <p:grpSpPr>
          <a:xfrm flipH="1">
            <a:off x="2492500" y="1598394"/>
            <a:ext cx="655031" cy="1157083"/>
            <a:chOff x="6843713" y="4118768"/>
            <a:chExt cx="1012826" cy="1789113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17F1398-740C-48E4-B039-B4FA7C3B734E}"/>
                </a:ext>
              </a:extLst>
            </p:cNvPr>
            <p:cNvGrpSpPr/>
            <p:nvPr/>
          </p:nvGrpSpPr>
          <p:grpSpPr>
            <a:xfrm>
              <a:off x="6843713" y="4118768"/>
              <a:ext cx="1012826" cy="1789113"/>
              <a:chOff x="6843713" y="4189413"/>
              <a:chExt cx="1012826" cy="1789113"/>
            </a:xfrm>
          </p:grpSpPr>
          <p:sp>
            <p:nvSpPr>
              <p:cNvPr id="89" name="Freeform 998">
                <a:extLst>
                  <a:ext uri="{FF2B5EF4-FFF2-40B4-BE49-F238E27FC236}">
                    <a16:creationId xmlns:a16="http://schemas.microsoft.com/office/drawing/2014/main" id="{90F2F983-CA2A-44A3-AA62-DC8E6B52F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4189413"/>
                <a:ext cx="1012825" cy="1789113"/>
              </a:xfrm>
              <a:custGeom>
                <a:avLst/>
                <a:gdLst>
                  <a:gd name="T0" fmla="*/ 1277 w 2555"/>
                  <a:gd name="T1" fmla="*/ 0 h 4505"/>
                  <a:gd name="T2" fmla="*/ 1212 w 2555"/>
                  <a:gd name="T3" fmla="*/ 1 h 4505"/>
                  <a:gd name="T4" fmla="*/ 1082 w 2555"/>
                  <a:gd name="T5" fmla="*/ 14 h 4505"/>
                  <a:gd name="T6" fmla="*/ 958 w 2555"/>
                  <a:gd name="T7" fmla="*/ 40 h 4505"/>
                  <a:gd name="T8" fmla="*/ 837 w 2555"/>
                  <a:gd name="T9" fmla="*/ 78 h 4505"/>
                  <a:gd name="T10" fmla="*/ 723 w 2555"/>
                  <a:gd name="T11" fmla="*/ 126 h 4505"/>
                  <a:gd name="T12" fmla="*/ 614 w 2555"/>
                  <a:gd name="T13" fmla="*/ 185 h 4505"/>
                  <a:gd name="T14" fmla="*/ 512 w 2555"/>
                  <a:gd name="T15" fmla="*/ 254 h 4505"/>
                  <a:gd name="T16" fmla="*/ 417 w 2555"/>
                  <a:gd name="T17" fmla="*/ 332 h 4505"/>
                  <a:gd name="T18" fmla="*/ 330 w 2555"/>
                  <a:gd name="T19" fmla="*/ 418 h 4505"/>
                  <a:gd name="T20" fmla="*/ 253 w 2555"/>
                  <a:gd name="T21" fmla="*/ 513 h 4505"/>
                  <a:gd name="T22" fmla="*/ 184 w 2555"/>
                  <a:gd name="T23" fmla="*/ 615 h 4505"/>
                  <a:gd name="T24" fmla="*/ 126 w 2555"/>
                  <a:gd name="T25" fmla="*/ 724 h 4505"/>
                  <a:gd name="T26" fmla="*/ 76 w 2555"/>
                  <a:gd name="T27" fmla="*/ 838 h 4505"/>
                  <a:gd name="T28" fmla="*/ 39 w 2555"/>
                  <a:gd name="T29" fmla="*/ 959 h 4505"/>
                  <a:gd name="T30" fmla="*/ 14 w 2555"/>
                  <a:gd name="T31" fmla="*/ 1083 h 4505"/>
                  <a:gd name="T32" fmla="*/ 1 w 2555"/>
                  <a:gd name="T33" fmla="*/ 1212 h 4505"/>
                  <a:gd name="T34" fmla="*/ 0 w 2555"/>
                  <a:gd name="T35" fmla="*/ 1278 h 4505"/>
                  <a:gd name="T36" fmla="*/ 1 w 2555"/>
                  <a:gd name="T37" fmla="*/ 1336 h 4505"/>
                  <a:gd name="T38" fmla="*/ 14 w 2555"/>
                  <a:gd name="T39" fmla="*/ 1463 h 4505"/>
                  <a:gd name="T40" fmla="*/ 40 w 2555"/>
                  <a:gd name="T41" fmla="*/ 1594 h 4505"/>
                  <a:gd name="T42" fmla="*/ 75 w 2555"/>
                  <a:gd name="T43" fmla="*/ 1716 h 4505"/>
                  <a:gd name="T44" fmla="*/ 97 w 2555"/>
                  <a:gd name="T45" fmla="*/ 1768 h 4505"/>
                  <a:gd name="T46" fmla="*/ 1277 w 2555"/>
                  <a:gd name="T47" fmla="*/ 4505 h 4505"/>
                  <a:gd name="T48" fmla="*/ 2463 w 2555"/>
                  <a:gd name="T49" fmla="*/ 1755 h 4505"/>
                  <a:gd name="T50" fmla="*/ 2482 w 2555"/>
                  <a:gd name="T51" fmla="*/ 1707 h 4505"/>
                  <a:gd name="T52" fmla="*/ 2516 w 2555"/>
                  <a:gd name="T53" fmla="*/ 1590 h 4505"/>
                  <a:gd name="T54" fmla="*/ 2540 w 2555"/>
                  <a:gd name="T55" fmla="*/ 1463 h 4505"/>
                  <a:gd name="T56" fmla="*/ 2553 w 2555"/>
                  <a:gd name="T57" fmla="*/ 1336 h 4505"/>
                  <a:gd name="T58" fmla="*/ 2555 w 2555"/>
                  <a:gd name="T59" fmla="*/ 1278 h 4505"/>
                  <a:gd name="T60" fmla="*/ 2553 w 2555"/>
                  <a:gd name="T61" fmla="*/ 1212 h 4505"/>
                  <a:gd name="T62" fmla="*/ 2540 w 2555"/>
                  <a:gd name="T63" fmla="*/ 1083 h 4505"/>
                  <a:gd name="T64" fmla="*/ 2514 w 2555"/>
                  <a:gd name="T65" fmla="*/ 959 h 4505"/>
                  <a:gd name="T66" fmla="*/ 2478 w 2555"/>
                  <a:gd name="T67" fmla="*/ 838 h 4505"/>
                  <a:gd name="T68" fmla="*/ 2429 w 2555"/>
                  <a:gd name="T69" fmla="*/ 724 h 4505"/>
                  <a:gd name="T70" fmla="*/ 2371 w 2555"/>
                  <a:gd name="T71" fmla="*/ 615 h 4505"/>
                  <a:gd name="T72" fmla="*/ 2302 w 2555"/>
                  <a:gd name="T73" fmla="*/ 513 h 4505"/>
                  <a:gd name="T74" fmla="*/ 2223 w 2555"/>
                  <a:gd name="T75" fmla="*/ 418 h 4505"/>
                  <a:gd name="T76" fmla="*/ 2136 w 2555"/>
                  <a:gd name="T77" fmla="*/ 332 h 4505"/>
                  <a:gd name="T78" fmla="*/ 2041 w 2555"/>
                  <a:gd name="T79" fmla="*/ 254 h 4505"/>
                  <a:gd name="T80" fmla="*/ 1940 w 2555"/>
                  <a:gd name="T81" fmla="*/ 185 h 4505"/>
                  <a:gd name="T82" fmla="*/ 1831 w 2555"/>
                  <a:gd name="T83" fmla="*/ 126 h 4505"/>
                  <a:gd name="T84" fmla="*/ 1717 w 2555"/>
                  <a:gd name="T85" fmla="*/ 78 h 4505"/>
                  <a:gd name="T86" fmla="*/ 1597 w 2555"/>
                  <a:gd name="T87" fmla="*/ 40 h 4505"/>
                  <a:gd name="T88" fmla="*/ 1472 w 2555"/>
                  <a:gd name="T89" fmla="*/ 14 h 4505"/>
                  <a:gd name="T90" fmla="*/ 1343 w 2555"/>
                  <a:gd name="T91" fmla="*/ 1 h 4505"/>
                  <a:gd name="T92" fmla="*/ 1277 w 2555"/>
                  <a:gd name="T93" fmla="*/ 0 h 4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55" h="4505">
                    <a:moveTo>
                      <a:pt x="1277" y="0"/>
                    </a:moveTo>
                    <a:lnTo>
                      <a:pt x="1212" y="1"/>
                    </a:lnTo>
                    <a:lnTo>
                      <a:pt x="1082" y="14"/>
                    </a:lnTo>
                    <a:lnTo>
                      <a:pt x="958" y="40"/>
                    </a:lnTo>
                    <a:lnTo>
                      <a:pt x="837" y="78"/>
                    </a:lnTo>
                    <a:lnTo>
                      <a:pt x="723" y="126"/>
                    </a:lnTo>
                    <a:lnTo>
                      <a:pt x="614" y="185"/>
                    </a:lnTo>
                    <a:lnTo>
                      <a:pt x="512" y="254"/>
                    </a:lnTo>
                    <a:lnTo>
                      <a:pt x="417" y="332"/>
                    </a:lnTo>
                    <a:lnTo>
                      <a:pt x="330" y="418"/>
                    </a:lnTo>
                    <a:lnTo>
                      <a:pt x="253" y="513"/>
                    </a:lnTo>
                    <a:lnTo>
                      <a:pt x="184" y="615"/>
                    </a:lnTo>
                    <a:lnTo>
                      <a:pt x="126" y="724"/>
                    </a:lnTo>
                    <a:lnTo>
                      <a:pt x="76" y="838"/>
                    </a:lnTo>
                    <a:lnTo>
                      <a:pt x="39" y="959"/>
                    </a:lnTo>
                    <a:lnTo>
                      <a:pt x="14" y="1083"/>
                    </a:lnTo>
                    <a:lnTo>
                      <a:pt x="1" y="1212"/>
                    </a:lnTo>
                    <a:lnTo>
                      <a:pt x="0" y="1278"/>
                    </a:lnTo>
                    <a:lnTo>
                      <a:pt x="1" y="1336"/>
                    </a:lnTo>
                    <a:lnTo>
                      <a:pt x="14" y="1463"/>
                    </a:lnTo>
                    <a:lnTo>
                      <a:pt x="40" y="1594"/>
                    </a:lnTo>
                    <a:lnTo>
                      <a:pt x="75" y="1716"/>
                    </a:lnTo>
                    <a:lnTo>
                      <a:pt x="97" y="1768"/>
                    </a:lnTo>
                    <a:lnTo>
                      <a:pt x="1277" y="4505"/>
                    </a:lnTo>
                    <a:lnTo>
                      <a:pt x="2463" y="1755"/>
                    </a:lnTo>
                    <a:lnTo>
                      <a:pt x="2482" y="1707"/>
                    </a:lnTo>
                    <a:lnTo>
                      <a:pt x="2516" y="1590"/>
                    </a:lnTo>
                    <a:lnTo>
                      <a:pt x="2540" y="1463"/>
                    </a:lnTo>
                    <a:lnTo>
                      <a:pt x="2553" y="1336"/>
                    </a:lnTo>
                    <a:lnTo>
                      <a:pt x="2555" y="1278"/>
                    </a:lnTo>
                    <a:lnTo>
                      <a:pt x="2553" y="1212"/>
                    </a:lnTo>
                    <a:lnTo>
                      <a:pt x="2540" y="1083"/>
                    </a:lnTo>
                    <a:lnTo>
                      <a:pt x="2514" y="959"/>
                    </a:lnTo>
                    <a:lnTo>
                      <a:pt x="2478" y="838"/>
                    </a:lnTo>
                    <a:lnTo>
                      <a:pt x="2429" y="724"/>
                    </a:lnTo>
                    <a:lnTo>
                      <a:pt x="2371" y="615"/>
                    </a:lnTo>
                    <a:lnTo>
                      <a:pt x="2302" y="513"/>
                    </a:lnTo>
                    <a:lnTo>
                      <a:pt x="2223" y="418"/>
                    </a:lnTo>
                    <a:lnTo>
                      <a:pt x="2136" y="332"/>
                    </a:lnTo>
                    <a:lnTo>
                      <a:pt x="2041" y="254"/>
                    </a:lnTo>
                    <a:lnTo>
                      <a:pt x="1940" y="185"/>
                    </a:lnTo>
                    <a:lnTo>
                      <a:pt x="1831" y="126"/>
                    </a:lnTo>
                    <a:lnTo>
                      <a:pt x="1717" y="78"/>
                    </a:lnTo>
                    <a:lnTo>
                      <a:pt x="1597" y="40"/>
                    </a:lnTo>
                    <a:lnTo>
                      <a:pt x="1472" y="14"/>
                    </a:lnTo>
                    <a:lnTo>
                      <a:pt x="1343" y="1"/>
                    </a:lnTo>
                    <a:lnTo>
                      <a:pt x="1277" y="0"/>
                    </a:lnTo>
                    <a:close/>
                  </a:path>
                </a:pathLst>
              </a:custGeom>
              <a:solidFill>
                <a:srgbClr val="27AE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" name="Freeform 999">
                <a:extLst>
                  <a:ext uri="{FF2B5EF4-FFF2-40B4-BE49-F238E27FC236}">
                    <a16:creationId xmlns:a16="http://schemas.microsoft.com/office/drawing/2014/main" id="{FECBF7B9-181E-4221-9CC7-35C0DBA7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126" y="4189413"/>
                <a:ext cx="506413" cy="1789113"/>
              </a:xfrm>
              <a:custGeom>
                <a:avLst/>
                <a:gdLst>
                  <a:gd name="T0" fmla="*/ 0 w 1278"/>
                  <a:gd name="T1" fmla="*/ 0 h 4505"/>
                  <a:gd name="T2" fmla="*/ 0 w 1278"/>
                  <a:gd name="T3" fmla="*/ 0 h 4505"/>
                  <a:gd name="T4" fmla="*/ 0 w 1278"/>
                  <a:gd name="T5" fmla="*/ 4505 h 4505"/>
                  <a:gd name="T6" fmla="*/ 1186 w 1278"/>
                  <a:gd name="T7" fmla="*/ 1755 h 4505"/>
                  <a:gd name="T8" fmla="*/ 1205 w 1278"/>
                  <a:gd name="T9" fmla="*/ 1707 h 4505"/>
                  <a:gd name="T10" fmla="*/ 1239 w 1278"/>
                  <a:gd name="T11" fmla="*/ 1590 h 4505"/>
                  <a:gd name="T12" fmla="*/ 1263 w 1278"/>
                  <a:gd name="T13" fmla="*/ 1463 h 4505"/>
                  <a:gd name="T14" fmla="*/ 1276 w 1278"/>
                  <a:gd name="T15" fmla="*/ 1336 h 4505"/>
                  <a:gd name="T16" fmla="*/ 1278 w 1278"/>
                  <a:gd name="T17" fmla="*/ 1278 h 4505"/>
                  <a:gd name="T18" fmla="*/ 1276 w 1278"/>
                  <a:gd name="T19" fmla="*/ 1212 h 4505"/>
                  <a:gd name="T20" fmla="*/ 1263 w 1278"/>
                  <a:gd name="T21" fmla="*/ 1083 h 4505"/>
                  <a:gd name="T22" fmla="*/ 1237 w 1278"/>
                  <a:gd name="T23" fmla="*/ 959 h 4505"/>
                  <a:gd name="T24" fmla="*/ 1201 w 1278"/>
                  <a:gd name="T25" fmla="*/ 838 h 4505"/>
                  <a:gd name="T26" fmla="*/ 1152 w 1278"/>
                  <a:gd name="T27" fmla="*/ 724 h 4505"/>
                  <a:gd name="T28" fmla="*/ 1094 w 1278"/>
                  <a:gd name="T29" fmla="*/ 615 h 4505"/>
                  <a:gd name="T30" fmla="*/ 1025 w 1278"/>
                  <a:gd name="T31" fmla="*/ 513 h 4505"/>
                  <a:gd name="T32" fmla="*/ 946 w 1278"/>
                  <a:gd name="T33" fmla="*/ 418 h 4505"/>
                  <a:gd name="T34" fmla="*/ 859 w 1278"/>
                  <a:gd name="T35" fmla="*/ 332 h 4505"/>
                  <a:gd name="T36" fmla="*/ 764 w 1278"/>
                  <a:gd name="T37" fmla="*/ 254 h 4505"/>
                  <a:gd name="T38" fmla="*/ 663 w 1278"/>
                  <a:gd name="T39" fmla="*/ 185 h 4505"/>
                  <a:gd name="T40" fmla="*/ 554 w 1278"/>
                  <a:gd name="T41" fmla="*/ 126 h 4505"/>
                  <a:gd name="T42" fmla="*/ 440 w 1278"/>
                  <a:gd name="T43" fmla="*/ 78 h 4505"/>
                  <a:gd name="T44" fmla="*/ 320 w 1278"/>
                  <a:gd name="T45" fmla="*/ 40 h 4505"/>
                  <a:gd name="T46" fmla="*/ 195 w 1278"/>
                  <a:gd name="T47" fmla="*/ 14 h 4505"/>
                  <a:gd name="T48" fmla="*/ 66 w 1278"/>
                  <a:gd name="T49" fmla="*/ 1 h 4505"/>
                  <a:gd name="T50" fmla="*/ 0 w 1278"/>
                  <a:gd name="T51" fmla="*/ 0 h 4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78" h="4505">
                    <a:moveTo>
                      <a:pt x="0" y="0"/>
                    </a:moveTo>
                    <a:lnTo>
                      <a:pt x="0" y="0"/>
                    </a:lnTo>
                    <a:lnTo>
                      <a:pt x="0" y="4505"/>
                    </a:lnTo>
                    <a:lnTo>
                      <a:pt x="1186" y="1755"/>
                    </a:lnTo>
                    <a:lnTo>
                      <a:pt x="1205" y="1707"/>
                    </a:lnTo>
                    <a:lnTo>
                      <a:pt x="1239" y="1590"/>
                    </a:lnTo>
                    <a:lnTo>
                      <a:pt x="1263" y="1463"/>
                    </a:lnTo>
                    <a:lnTo>
                      <a:pt x="1276" y="1336"/>
                    </a:lnTo>
                    <a:lnTo>
                      <a:pt x="1278" y="1278"/>
                    </a:lnTo>
                    <a:lnTo>
                      <a:pt x="1276" y="1212"/>
                    </a:lnTo>
                    <a:lnTo>
                      <a:pt x="1263" y="1083"/>
                    </a:lnTo>
                    <a:lnTo>
                      <a:pt x="1237" y="959"/>
                    </a:lnTo>
                    <a:lnTo>
                      <a:pt x="1201" y="838"/>
                    </a:lnTo>
                    <a:lnTo>
                      <a:pt x="1152" y="724"/>
                    </a:lnTo>
                    <a:lnTo>
                      <a:pt x="1094" y="615"/>
                    </a:lnTo>
                    <a:lnTo>
                      <a:pt x="1025" y="513"/>
                    </a:lnTo>
                    <a:lnTo>
                      <a:pt x="946" y="418"/>
                    </a:lnTo>
                    <a:lnTo>
                      <a:pt x="859" y="332"/>
                    </a:lnTo>
                    <a:lnTo>
                      <a:pt x="764" y="254"/>
                    </a:lnTo>
                    <a:lnTo>
                      <a:pt x="663" y="185"/>
                    </a:lnTo>
                    <a:lnTo>
                      <a:pt x="554" y="126"/>
                    </a:lnTo>
                    <a:lnTo>
                      <a:pt x="440" y="78"/>
                    </a:lnTo>
                    <a:lnTo>
                      <a:pt x="320" y="40"/>
                    </a:lnTo>
                    <a:lnTo>
                      <a:pt x="195" y="14"/>
                    </a:lnTo>
                    <a:lnTo>
                      <a:pt x="6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F28DAB16-0F3F-42A4-A04B-8A9E090E9144}"/>
                </a:ext>
              </a:extLst>
            </p:cNvPr>
            <p:cNvSpPr/>
            <p:nvPr/>
          </p:nvSpPr>
          <p:spPr>
            <a:xfrm>
              <a:off x="6933947" y="4210589"/>
              <a:ext cx="832104" cy="832104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000" dirty="0">
                <a:solidFill>
                  <a:srgbClr val="27AE61"/>
                </a:solidFill>
                <a:latin typeface="FontAwesome" pitchFamily="2" charset="0"/>
              </a:endParaRP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5C13610F-3BCF-4CC6-AE9B-19D115260CD8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120" t="1926" r="62016" b="20675"/>
          <a:stretch/>
        </p:blipFill>
        <p:spPr>
          <a:xfrm>
            <a:off x="2566429" y="1673106"/>
            <a:ext cx="502489" cy="504866"/>
          </a:xfrm>
          <a:prstGeom prst="ellipse">
            <a:avLst/>
          </a:prstGeom>
          <a:ln>
            <a:solidFill>
              <a:srgbClr val="068E7B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9740790B-B178-45C2-8E61-BC41E0DF41D4}"/>
              </a:ext>
            </a:extLst>
          </p:cNvPr>
          <p:cNvGrpSpPr/>
          <p:nvPr/>
        </p:nvGrpSpPr>
        <p:grpSpPr>
          <a:xfrm flipH="1">
            <a:off x="8478779" y="3587428"/>
            <a:ext cx="655031" cy="1157083"/>
            <a:chOff x="6843713" y="4118768"/>
            <a:chExt cx="1012826" cy="1789113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14CA02F3-7E3E-465F-BED2-0D8020186B1A}"/>
                </a:ext>
              </a:extLst>
            </p:cNvPr>
            <p:cNvGrpSpPr/>
            <p:nvPr/>
          </p:nvGrpSpPr>
          <p:grpSpPr>
            <a:xfrm>
              <a:off x="6843713" y="4118768"/>
              <a:ext cx="1012826" cy="1789113"/>
              <a:chOff x="6843713" y="4189413"/>
              <a:chExt cx="1012826" cy="1789113"/>
            </a:xfrm>
          </p:grpSpPr>
          <p:sp>
            <p:nvSpPr>
              <p:cNvPr id="104" name="Freeform 998">
                <a:extLst>
                  <a:ext uri="{FF2B5EF4-FFF2-40B4-BE49-F238E27FC236}">
                    <a16:creationId xmlns:a16="http://schemas.microsoft.com/office/drawing/2014/main" id="{418DE234-C875-47FA-8A70-8680E2FFC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4189413"/>
                <a:ext cx="1012825" cy="1789113"/>
              </a:xfrm>
              <a:custGeom>
                <a:avLst/>
                <a:gdLst>
                  <a:gd name="T0" fmla="*/ 1277 w 2555"/>
                  <a:gd name="T1" fmla="*/ 0 h 4505"/>
                  <a:gd name="T2" fmla="*/ 1212 w 2555"/>
                  <a:gd name="T3" fmla="*/ 1 h 4505"/>
                  <a:gd name="T4" fmla="*/ 1082 w 2555"/>
                  <a:gd name="T5" fmla="*/ 14 h 4505"/>
                  <a:gd name="T6" fmla="*/ 958 w 2555"/>
                  <a:gd name="T7" fmla="*/ 40 h 4505"/>
                  <a:gd name="T8" fmla="*/ 837 w 2555"/>
                  <a:gd name="T9" fmla="*/ 78 h 4505"/>
                  <a:gd name="T10" fmla="*/ 723 w 2555"/>
                  <a:gd name="T11" fmla="*/ 126 h 4505"/>
                  <a:gd name="T12" fmla="*/ 614 w 2555"/>
                  <a:gd name="T13" fmla="*/ 185 h 4505"/>
                  <a:gd name="T14" fmla="*/ 512 w 2555"/>
                  <a:gd name="T15" fmla="*/ 254 h 4505"/>
                  <a:gd name="T16" fmla="*/ 417 w 2555"/>
                  <a:gd name="T17" fmla="*/ 332 h 4505"/>
                  <a:gd name="T18" fmla="*/ 330 w 2555"/>
                  <a:gd name="T19" fmla="*/ 418 h 4505"/>
                  <a:gd name="T20" fmla="*/ 253 w 2555"/>
                  <a:gd name="T21" fmla="*/ 513 h 4505"/>
                  <a:gd name="T22" fmla="*/ 184 w 2555"/>
                  <a:gd name="T23" fmla="*/ 615 h 4505"/>
                  <a:gd name="T24" fmla="*/ 126 w 2555"/>
                  <a:gd name="T25" fmla="*/ 724 h 4505"/>
                  <a:gd name="T26" fmla="*/ 76 w 2555"/>
                  <a:gd name="T27" fmla="*/ 838 h 4505"/>
                  <a:gd name="T28" fmla="*/ 39 w 2555"/>
                  <a:gd name="T29" fmla="*/ 959 h 4505"/>
                  <a:gd name="T30" fmla="*/ 14 w 2555"/>
                  <a:gd name="T31" fmla="*/ 1083 h 4505"/>
                  <a:gd name="T32" fmla="*/ 1 w 2555"/>
                  <a:gd name="T33" fmla="*/ 1212 h 4505"/>
                  <a:gd name="T34" fmla="*/ 0 w 2555"/>
                  <a:gd name="T35" fmla="*/ 1278 h 4505"/>
                  <a:gd name="T36" fmla="*/ 1 w 2555"/>
                  <a:gd name="T37" fmla="*/ 1336 h 4505"/>
                  <a:gd name="T38" fmla="*/ 14 w 2555"/>
                  <a:gd name="T39" fmla="*/ 1463 h 4505"/>
                  <a:gd name="T40" fmla="*/ 40 w 2555"/>
                  <a:gd name="T41" fmla="*/ 1594 h 4505"/>
                  <a:gd name="T42" fmla="*/ 75 w 2555"/>
                  <a:gd name="T43" fmla="*/ 1716 h 4505"/>
                  <a:gd name="T44" fmla="*/ 97 w 2555"/>
                  <a:gd name="T45" fmla="*/ 1768 h 4505"/>
                  <a:gd name="T46" fmla="*/ 1277 w 2555"/>
                  <a:gd name="T47" fmla="*/ 4505 h 4505"/>
                  <a:gd name="T48" fmla="*/ 2463 w 2555"/>
                  <a:gd name="T49" fmla="*/ 1755 h 4505"/>
                  <a:gd name="T50" fmla="*/ 2482 w 2555"/>
                  <a:gd name="T51" fmla="*/ 1707 h 4505"/>
                  <a:gd name="T52" fmla="*/ 2516 w 2555"/>
                  <a:gd name="T53" fmla="*/ 1590 h 4505"/>
                  <a:gd name="T54" fmla="*/ 2540 w 2555"/>
                  <a:gd name="T55" fmla="*/ 1463 h 4505"/>
                  <a:gd name="T56" fmla="*/ 2553 w 2555"/>
                  <a:gd name="T57" fmla="*/ 1336 h 4505"/>
                  <a:gd name="T58" fmla="*/ 2555 w 2555"/>
                  <a:gd name="T59" fmla="*/ 1278 h 4505"/>
                  <a:gd name="T60" fmla="*/ 2553 w 2555"/>
                  <a:gd name="T61" fmla="*/ 1212 h 4505"/>
                  <a:gd name="T62" fmla="*/ 2540 w 2555"/>
                  <a:gd name="T63" fmla="*/ 1083 h 4505"/>
                  <a:gd name="T64" fmla="*/ 2514 w 2555"/>
                  <a:gd name="T65" fmla="*/ 959 h 4505"/>
                  <a:gd name="T66" fmla="*/ 2478 w 2555"/>
                  <a:gd name="T67" fmla="*/ 838 h 4505"/>
                  <a:gd name="T68" fmla="*/ 2429 w 2555"/>
                  <a:gd name="T69" fmla="*/ 724 h 4505"/>
                  <a:gd name="T70" fmla="*/ 2371 w 2555"/>
                  <a:gd name="T71" fmla="*/ 615 h 4505"/>
                  <a:gd name="T72" fmla="*/ 2302 w 2555"/>
                  <a:gd name="T73" fmla="*/ 513 h 4505"/>
                  <a:gd name="T74" fmla="*/ 2223 w 2555"/>
                  <a:gd name="T75" fmla="*/ 418 h 4505"/>
                  <a:gd name="T76" fmla="*/ 2136 w 2555"/>
                  <a:gd name="T77" fmla="*/ 332 h 4505"/>
                  <a:gd name="T78" fmla="*/ 2041 w 2555"/>
                  <a:gd name="T79" fmla="*/ 254 h 4505"/>
                  <a:gd name="T80" fmla="*/ 1940 w 2555"/>
                  <a:gd name="T81" fmla="*/ 185 h 4505"/>
                  <a:gd name="T82" fmla="*/ 1831 w 2555"/>
                  <a:gd name="T83" fmla="*/ 126 h 4505"/>
                  <a:gd name="T84" fmla="*/ 1717 w 2555"/>
                  <a:gd name="T85" fmla="*/ 78 h 4505"/>
                  <a:gd name="T86" fmla="*/ 1597 w 2555"/>
                  <a:gd name="T87" fmla="*/ 40 h 4505"/>
                  <a:gd name="T88" fmla="*/ 1472 w 2555"/>
                  <a:gd name="T89" fmla="*/ 14 h 4505"/>
                  <a:gd name="T90" fmla="*/ 1343 w 2555"/>
                  <a:gd name="T91" fmla="*/ 1 h 4505"/>
                  <a:gd name="T92" fmla="*/ 1277 w 2555"/>
                  <a:gd name="T93" fmla="*/ 0 h 4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55" h="4505">
                    <a:moveTo>
                      <a:pt x="1277" y="0"/>
                    </a:moveTo>
                    <a:lnTo>
                      <a:pt x="1212" y="1"/>
                    </a:lnTo>
                    <a:lnTo>
                      <a:pt x="1082" y="14"/>
                    </a:lnTo>
                    <a:lnTo>
                      <a:pt x="958" y="40"/>
                    </a:lnTo>
                    <a:lnTo>
                      <a:pt x="837" y="78"/>
                    </a:lnTo>
                    <a:lnTo>
                      <a:pt x="723" y="126"/>
                    </a:lnTo>
                    <a:lnTo>
                      <a:pt x="614" y="185"/>
                    </a:lnTo>
                    <a:lnTo>
                      <a:pt x="512" y="254"/>
                    </a:lnTo>
                    <a:lnTo>
                      <a:pt x="417" y="332"/>
                    </a:lnTo>
                    <a:lnTo>
                      <a:pt x="330" y="418"/>
                    </a:lnTo>
                    <a:lnTo>
                      <a:pt x="253" y="513"/>
                    </a:lnTo>
                    <a:lnTo>
                      <a:pt x="184" y="615"/>
                    </a:lnTo>
                    <a:lnTo>
                      <a:pt x="126" y="724"/>
                    </a:lnTo>
                    <a:lnTo>
                      <a:pt x="76" y="838"/>
                    </a:lnTo>
                    <a:lnTo>
                      <a:pt x="39" y="959"/>
                    </a:lnTo>
                    <a:lnTo>
                      <a:pt x="14" y="1083"/>
                    </a:lnTo>
                    <a:lnTo>
                      <a:pt x="1" y="1212"/>
                    </a:lnTo>
                    <a:lnTo>
                      <a:pt x="0" y="1278"/>
                    </a:lnTo>
                    <a:lnTo>
                      <a:pt x="1" y="1336"/>
                    </a:lnTo>
                    <a:lnTo>
                      <a:pt x="14" y="1463"/>
                    </a:lnTo>
                    <a:lnTo>
                      <a:pt x="40" y="1594"/>
                    </a:lnTo>
                    <a:lnTo>
                      <a:pt x="75" y="1716"/>
                    </a:lnTo>
                    <a:lnTo>
                      <a:pt x="97" y="1768"/>
                    </a:lnTo>
                    <a:lnTo>
                      <a:pt x="1277" y="4505"/>
                    </a:lnTo>
                    <a:lnTo>
                      <a:pt x="2463" y="1755"/>
                    </a:lnTo>
                    <a:lnTo>
                      <a:pt x="2482" y="1707"/>
                    </a:lnTo>
                    <a:lnTo>
                      <a:pt x="2516" y="1590"/>
                    </a:lnTo>
                    <a:lnTo>
                      <a:pt x="2540" y="1463"/>
                    </a:lnTo>
                    <a:lnTo>
                      <a:pt x="2553" y="1336"/>
                    </a:lnTo>
                    <a:lnTo>
                      <a:pt x="2555" y="1278"/>
                    </a:lnTo>
                    <a:lnTo>
                      <a:pt x="2553" y="1212"/>
                    </a:lnTo>
                    <a:lnTo>
                      <a:pt x="2540" y="1083"/>
                    </a:lnTo>
                    <a:lnTo>
                      <a:pt x="2514" y="959"/>
                    </a:lnTo>
                    <a:lnTo>
                      <a:pt x="2478" y="838"/>
                    </a:lnTo>
                    <a:lnTo>
                      <a:pt x="2429" y="724"/>
                    </a:lnTo>
                    <a:lnTo>
                      <a:pt x="2371" y="615"/>
                    </a:lnTo>
                    <a:lnTo>
                      <a:pt x="2302" y="513"/>
                    </a:lnTo>
                    <a:lnTo>
                      <a:pt x="2223" y="418"/>
                    </a:lnTo>
                    <a:lnTo>
                      <a:pt x="2136" y="332"/>
                    </a:lnTo>
                    <a:lnTo>
                      <a:pt x="2041" y="254"/>
                    </a:lnTo>
                    <a:lnTo>
                      <a:pt x="1940" y="185"/>
                    </a:lnTo>
                    <a:lnTo>
                      <a:pt x="1831" y="126"/>
                    </a:lnTo>
                    <a:lnTo>
                      <a:pt x="1717" y="78"/>
                    </a:lnTo>
                    <a:lnTo>
                      <a:pt x="1597" y="40"/>
                    </a:lnTo>
                    <a:lnTo>
                      <a:pt x="1472" y="14"/>
                    </a:lnTo>
                    <a:lnTo>
                      <a:pt x="1343" y="1"/>
                    </a:lnTo>
                    <a:lnTo>
                      <a:pt x="1277" y="0"/>
                    </a:lnTo>
                    <a:close/>
                  </a:path>
                </a:pathLst>
              </a:custGeom>
              <a:solidFill>
                <a:srgbClr val="27AE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" name="Freeform 999">
                <a:extLst>
                  <a:ext uri="{FF2B5EF4-FFF2-40B4-BE49-F238E27FC236}">
                    <a16:creationId xmlns:a16="http://schemas.microsoft.com/office/drawing/2014/main" id="{937FA1FD-679F-4322-8EB5-9CF590F46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126" y="4189413"/>
                <a:ext cx="506413" cy="1789113"/>
              </a:xfrm>
              <a:custGeom>
                <a:avLst/>
                <a:gdLst>
                  <a:gd name="T0" fmla="*/ 0 w 1278"/>
                  <a:gd name="T1" fmla="*/ 0 h 4505"/>
                  <a:gd name="T2" fmla="*/ 0 w 1278"/>
                  <a:gd name="T3" fmla="*/ 0 h 4505"/>
                  <a:gd name="T4" fmla="*/ 0 w 1278"/>
                  <a:gd name="T5" fmla="*/ 4505 h 4505"/>
                  <a:gd name="T6" fmla="*/ 1186 w 1278"/>
                  <a:gd name="T7" fmla="*/ 1755 h 4505"/>
                  <a:gd name="T8" fmla="*/ 1205 w 1278"/>
                  <a:gd name="T9" fmla="*/ 1707 h 4505"/>
                  <a:gd name="T10" fmla="*/ 1239 w 1278"/>
                  <a:gd name="T11" fmla="*/ 1590 h 4505"/>
                  <a:gd name="T12" fmla="*/ 1263 w 1278"/>
                  <a:gd name="T13" fmla="*/ 1463 h 4505"/>
                  <a:gd name="T14" fmla="*/ 1276 w 1278"/>
                  <a:gd name="T15" fmla="*/ 1336 h 4505"/>
                  <a:gd name="T16" fmla="*/ 1278 w 1278"/>
                  <a:gd name="T17" fmla="*/ 1278 h 4505"/>
                  <a:gd name="T18" fmla="*/ 1276 w 1278"/>
                  <a:gd name="T19" fmla="*/ 1212 h 4505"/>
                  <a:gd name="T20" fmla="*/ 1263 w 1278"/>
                  <a:gd name="T21" fmla="*/ 1083 h 4505"/>
                  <a:gd name="T22" fmla="*/ 1237 w 1278"/>
                  <a:gd name="T23" fmla="*/ 959 h 4505"/>
                  <a:gd name="T24" fmla="*/ 1201 w 1278"/>
                  <a:gd name="T25" fmla="*/ 838 h 4505"/>
                  <a:gd name="T26" fmla="*/ 1152 w 1278"/>
                  <a:gd name="T27" fmla="*/ 724 h 4505"/>
                  <a:gd name="T28" fmla="*/ 1094 w 1278"/>
                  <a:gd name="T29" fmla="*/ 615 h 4505"/>
                  <a:gd name="T30" fmla="*/ 1025 w 1278"/>
                  <a:gd name="T31" fmla="*/ 513 h 4505"/>
                  <a:gd name="T32" fmla="*/ 946 w 1278"/>
                  <a:gd name="T33" fmla="*/ 418 h 4505"/>
                  <a:gd name="T34" fmla="*/ 859 w 1278"/>
                  <a:gd name="T35" fmla="*/ 332 h 4505"/>
                  <a:gd name="T36" fmla="*/ 764 w 1278"/>
                  <a:gd name="T37" fmla="*/ 254 h 4505"/>
                  <a:gd name="T38" fmla="*/ 663 w 1278"/>
                  <a:gd name="T39" fmla="*/ 185 h 4505"/>
                  <a:gd name="T40" fmla="*/ 554 w 1278"/>
                  <a:gd name="T41" fmla="*/ 126 h 4505"/>
                  <a:gd name="T42" fmla="*/ 440 w 1278"/>
                  <a:gd name="T43" fmla="*/ 78 h 4505"/>
                  <a:gd name="T44" fmla="*/ 320 w 1278"/>
                  <a:gd name="T45" fmla="*/ 40 h 4505"/>
                  <a:gd name="T46" fmla="*/ 195 w 1278"/>
                  <a:gd name="T47" fmla="*/ 14 h 4505"/>
                  <a:gd name="T48" fmla="*/ 66 w 1278"/>
                  <a:gd name="T49" fmla="*/ 1 h 4505"/>
                  <a:gd name="T50" fmla="*/ 0 w 1278"/>
                  <a:gd name="T51" fmla="*/ 0 h 4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78" h="4505">
                    <a:moveTo>
                      <a:pt x="0" y="0"/>
                    </a:moveTo>
                    <a:lnTo>
                      <a:pt x="0" y="0"/>
                    </a:lnTo>
                    <a:lnTo>
                      <a:pt x="0" y="4505"/>
                    </a:lnTo>
                    <a:lnTo>
                      <a:pt x="1186" y="1755"/>
                    </a:lnTo>
                    <a:lnTo>
                      <a:pt x="1205" y="1707"/>
                    </a:lnTo>
                    <a:lnTo>
                      <a:pt x="1239" y="1590"/>
                    </a:lnTo>
                    <a:lnTo>
                      <a:pt x="1263" y="1463"/>
                    </a:lnTo>
                    <a:lnTo>
                      <a:pt x="1276" y="1336"/>
                    </a:lnTo>
                    <a:lnTo>
                      <a:pt x="1278" y="1278"/>
                    </a:lnTo>
                    <a:lnTo>
                      <a:pt x="1276" y="1212"/>
                    </a:lnTo>
                    <a:lnTo>
                      <a:pt x="1263" y="1083"/>
                    </a:lnTo>
                    <a:lnTo>
                      <a:pt x="1237" y="959"/>
                    </a:lnTo>
                    <a:lnTo>
                      <a:pt x="1201" y="838"/>
                    </a:lnTo>
                    <a:lnTo>
                      <a:pt x="1152" y="724"/>
                    </a:lnTo>
                    <a:lnTo>
                      <a:pt x="1094" y="615"/>
                    </a:lnTo>
                    <a:lnTo>
                      <a:pt x="1025" y="513"/>
                    </a:lnTo>
                    <a:lnTo>
                      <a:pt x="946" y="418"/>
                    </a:lnTo>
                    <a:lnTo>
                      <a:pt x="859" y="332"/>
                    </a:lnTo>
                    <a:lnTo>
                      <a:pt x="764" y="254"/>
                    </a:lnTo>
                    <a:lnTo>
                      <a:pt x="663" y="185"/>
                    </a:lnTo>
                    <a:lnTo>
                      <a:pt x="554" y="126"/>
                    </a:lnTo>
                    <a:lnTo>
                      <a:pt x="440" y="78"/>
                    </a:lnTo>
                    <a:lnTo>
                      <a:pt x="320" y="40"/>
                    </a:lnTo>
                    <a:lnTo>
                      <a:pt x="195" y="14"/>
                    </a:lnTo>
                    <a:lnTo>
                      <a:pt x="6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3AAF021C-A35C-49AB-9574-91E70CA99307}"/>
                </a:ext>
              </a:extLst>
            </p:cNvPr>
            <p:cNvSpPr/>
            <p:nvPr/>
          </p:nvSpPr>
          <p:spPr>
            <a:xfrm>
              <a:off x="6933947" y="4210589"/>
              <a:ext cx="832104" cy="832104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000" dirty="0">
                <a:solidFill>
                  <a:srgbClr val="27AE61"/>
                </a:solidFill>
                <a:latin typeface="FontAwesome" pitchFamily="2" charset="0"/>
              </a:endParaRPr>
            </a:p>
          </p:txBody>
        </p:sp>
      </p:grpSp>
      <p:pic>
        <p:nvPicPr>
          <p:cNvPr id="106" name="Picture 105">
            <a:extLst>
              <a:ext uri="{FF2B5EF4-FFF2-40B4-BE49-F238E27FC236}">
                <a16:creationId xmlns:a16="http://schemas.microsoft.com/office/drawing/2014/main" id="{A1644ECE-AEEC-417C-9DDC-12905DA21847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120" t="1926" r="62016" b="20675"/>
          <a:stretch/>
        </p:blipFill>
        <p:spPr>
          <a:xfrm>
            <a:off x="8552708" y="3662140"/>
            <a:ext cx="502489" cy="504866"/>
          </a:xfrm>
          <a:prstGeom prst="ellipse">
            <a:avLst/>
          </a:prstGeom>
          <a:ln>
            <a:solidFill>
              <a:srgbClr val="068E7B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7F8EF98-8B18-4E80-8E21-A758F51F5A66}"/>
              </a:ext>
            </a:extLst>
          </p:cNvPr>
          <p:cNvGrpSpPr/>
          <p:nvPr/>
        </p:nvGrpSpPr>
        <p:grpSpPr>
          <a:xfrm>
            <a:off x="4127685" y="1989714"/>
            <a:ext cx="441425" cy="485776"/>
            <a:chOff x="1224581" y="2015160"/>
            <a:chExt cx="692208" cy="878824"/>
          </a:xfrm>
          <a:solidFill>
            <a:srgbClr val="068E7B"/>
          </a:solidFill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26C2D470-A580-46E2-8548-246B603645B7}"/>
                </a:ext>
              </a:extLst>
            </p:cNvPr>
            <p:cNvGrpSpPr/>
            <p:nvPr/>
          </p:nvGrpSpPr>
          <p:grpSpPr>
            <a:xfrm>
              <a:off x="1315622" y="2504154"/>
              <a:ext cx="513527" cy="389830"/>
              <a:chOff x="1308509" y="2505468"/>
              <a:chExt cx="524354" cy="398048"/>
            </a:xfrm>
            <a:grpFill/>
          </p:grpSpPr>
          <p:sp>
            <p:nvSpPr>
              <p:cNvPr id="126" name="Freeform 90">
                <a:extLst>
                  <a:ext uri="{FF2B5EF4-FFF2-40B4-BE49-F238E27FC236}">
                    <a16:creationId xmlns:a16="http://schemas.microsoft.com/office/drawing/2014/main" id="{E2EE7D7F-1E56-401B-9E03-7539857A8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509" y="2863966"/>
                <a:ext cx="524354" cy="39550"/>
              </a:xfrm>
              <a:custGeom>
                <a:avLst/>
                <a:gdLst>
                  <a:gd name="T0" fmla="*/ 411 w 411"/>
                  <a:gd name="T1" fmla="*/ 0 h 31"/>
                  <a:gd name="T2" fmla="*/ 411 w 411"/>
                  <a:gd name="T3" fmla="*/ 14 h 31"/>
                  <a:gd name="T4" fmla="*/ 385 w 411"/>
                  <a:gd name="T5" fmla="*/ 31 h 31"/>
                  <a:gd name="T6" fmla="*/ 27 w 411"/>
                  <a:gd name="T7" fmla="*/ 31 h 31"/>
                  <a:gd name="T8" fmla="*/ 0 w 411"/>
                  <a:gd name="T9" fmla="*/ 13 h 31"/>
                  <a:gd name="T10" fmla="*/ 0 w 411"/>
                  <a:gd name="T11" fmla="*/ 0 h 31"/>
                  <a:gd name="T12" fmla="*/ 411 w 411"/>
                  <a:gd name="T13" fmla="*/ 0 h 31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72"/>
                  <a:gd name="connsiteX1" fmla="*/ 10000 w 10000"/>
                  <a:gd name="connsiteY1" fmla="*/ 4516 h 10072"/>
                  <a:gd name="connsiteX2" fmla="*/ 9367 w 10000"/>
                  <a:gd name="connsiteY2" fmla="*/ 10000 h 10072"/>
                  <a:gd name="connsiteX3" fmla="*/ 657 w 10000"/>
                  <a:gd name="connsiteY3" fmla="*/ 10000 h 10072"/>
                  <a:gd name="connsiteX4" fmla="*/ 0 w 10000"/>
                  <a:gd name="connsiteY4" fmla="*/ 4194 h 10072"/>
                  <a:gd name="connsiteX5" fmla="*/ 0 w 10000"/>
                  <a:gd name="connsiteY5" fmla="*/ 0 h 10072"/>
                  <a:gd name="connsiteX6" fmla="*/ 10000 w 10000"/>
                  <a:gd name="connsiteY6" fmla="*/ 0 h 10072"/>
                  <a:gd name="connsiteX0" fmla="*/ 10000 w 10000"/>
                  <a:gd name="connsiteY0" fmla="*/ 0 h 10072"/>
                  <a:gd name="connsiteX1" fmla="*/ 10000 w 10000"/>
                  <a:gd name="connsiteY1" fmla="*/ 4516 h 10072"/>
                  <a:gd name="connsiteX2" fmla="*/ 9367 w 10000"/>
                  <a:gd name="connsiteY2" fmla="*/ 10000 h 10072"/>
                  <a:gd name="connsiteX3" fmla="*/ 657 w 10000"/>
                  <a:gd name="connsiteY3" fmla="*/ 10000 h 10072"/>
                  <a:gd name="connsiteX4" fmla="*/ 0 w 10000"/>
                  <a:gd name="connsiteY4" fmla="*/ 4194 h 10072"/>
                  <a:gd name="connsiteX5" fmla="*/ 0 w 10000"/>
                  <a:gd name="connsiteY5" fmla="*/ 0 h 10072"/>
                  <a:gd name="connsiteX6" fmla="*/ 10000 w 10000"/>
                  <a:gd name="connsiteY6" fmla="*/ 0 h 10072"/>
                  <a:gd name="connsiteX0" fmla="*/ 10000 w 10000"/>
                  <a:gd name="connsiteY0" fmla="*/ 0 h 10003"/>
                  <a:gd name="connsiteX1" fmla="*/ 10000 w 10000"/>
                  <a:gd name="connsiteY1" fmla="*/ 4516 h 10003"/>
                  <a:gd name="connsiteX2" fmla="*/ 9367 w 10000"/>
                  <a:gd name="connsiteY2" fmla="*/ 10000 h 10003"/>
                  <a:gd name="connsiteX3" fmla="*/ 657 w 10000"/>
                  <a:gd name="connsiteY3" fmla="*/ 10000 h 10003"/>
                  <a:gd name="connsiteX4" fmla="*/ 0 w 10000"/>
                  <a:gd name="connsiteY4" fmla="*/ 4194 h 10003"/>
                  <a:gd name="connsiteX5" fmla="*/ 0 w 10000"/>
                  <a:gd name="connsiteY5" fmla="*/ 0 h 10003"/>
                  <a:gd name="connsiteX6" fmla="*/ 10000 w 10000"/>
                  <a:gd name="connsiteY6" fmla="*/ 0 h 10003"/>
                  <a:gd name="connsiteX0" fmla="*/ 10000 w 10000"/>
                  <a:gd name="connsiteY0" fmla="*/ 0 h 10003"/>
                  <a:gd name="connsiteX1" fmla="*/ 10000 w 10000"/>
                  <a:gd name="connsiteY1" fmla="*/ 4516 h 10003"/>
                  <a:gd name="connsiteX2" fmla="*/ 9367 w 10000"/>
                  <a:gd name="connsiteY2" fmla="*/ 10000 h 10003"/>
                  <a:gd name="connsiteX3" fmla="*/ 657 w 10000"/>
                  <a:gd name="connsiteY3" fmla="*/ 10000 h 10003"/>
                  <a:gd name="connsiteX4" fmla="*/ 0 w 10000"/>
                  <a:gd name="connsiteY4" fmla="*/ 4194 h 10003"/>
                  <a:gd name="connsiteX5" fmla="*/ 0 w 10000"/>
                  <a:gd name="connsiteY5" fmla="*/ 0 h 10003"/>
                  <a:gd name="connsiteX6" fmla="*/ 10000 w 10000"/>
                  <a:gd name="connsiteY6" fmla="*/ 0 h 10003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  <a:gd name="connsiteX0" fmla="*/ 10000 w 10000"/>
                  <a:gd name="connsiteY0" fmla="*/ 0 h 10000"/>
                  <a:gd name="connsiteX1" fmla="*/ 10000 w 10000"/>
                  <a:gd name="connsiteY1" fmla="*/ 4516 h 10000"/>
                  <a:gd name="connsiteX2" fmla="*/ 9367 w 10000"/>
                  <a:gd name="connsiteY2" fmla="*/ 10000 h 10000"/>
                  <a:gd name="connsiteX3" fmla="*/ 657 w 10000"/>
                  <a:gd name="connsiteY3" fmla="*/ 10000 h 10000"/>
                  <a:gd name="connsiteX4" fmla="*/ 0 w 10000"/>
                  <a:gd name="connsiteY4" fmla="*/ 4194 h 10000"/>
                  <a:gd name="connsiteX5" fmla="*/ 0 w 10000"/>
                  <a:gd name="connsiteY5" fmla="*/ 0 h 10000"/>
                  <a:gd name="connsiteX6" fmla="*/ 10000 w 10000"/>
                  <a:gd name="connsiteY6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0"/>
                    </a:moveTo>
                    <a:lnTo>
                      <a:pt x="10000" y="4516"/>
                    </a:lnTo>
                    <a:cubicBezTo>
                      <a:pt x="9967" y="8160"/>
                      <a:pt x="9747" y="9988"/>
                      <a:pt x="9367" y="10000"/>
                    </a:cubicBezTo>
                    <a:lnTo>
                      <a:pt x="657" y="10000"/>
                    </a:lnTo>
                    <a:cubicBezTo>
                      <a:pt x="414" y="9774"/>
                      <a:pt x="42" y="8586"/>
                      <a:pt x="0" y="4194"/>
                    </a:cubicBezTo>
                    <a:lnTo>
                      <a:pt x="0" y="0"/>
                    </a:lnTo>
                    <a:lnTo>
                      <a:pt x="100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91">
                <a:extLst>
                  <a:ext uri="{FF2B5EF4-FFF2-40B4-BE49-F238E27FC236}">
                    <a16:creationId xmlns:a16="http://schemas.microsoft.com/office/drawing/2014/main" id="{B5D233DB-AAE5-4A99-B2B1-2BD03CCF8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509" y="2505468"/>
                <a:ext cx="524354" cy="344465"/>
              </a:xfrm>
              <a:custGeom>
                <a:avLst/>
                <a:gdLst>
                  <a:gd name="T0" fmla="*/ 324 w 411"/>
                  <a:gd name="T1" fmla="*/ 0 h 270"/>
                  <a:gd name="T2" fmla="*/ 411 w 411"/>
                  <a:gd name="T3" fmla="*/ 270 h 270"/>
                  <a:gd name="T4" fmla="*/ 0 w 411"/>
                  <a:gd name="T5" fmla="*/ 270 h 270"/>
                  <a:gd name="T6" fmla="*/ 87 w 411"/>
                  <a:gd name="T7" fmla="*/ 0 h 270"/>
                  <a:gd name="T8" fmla="*/ 324 w 411"/>
                  <a:gd name="T9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1" h="270">
                    <a:moveTo>
                      <a:pt x="324" y="0"/>
                    </a:moveTo>
                    <a:lnTo>
                      <a:pt x="411" y="270"/>
                    </a:lnTo>
                    <a:lnTo>
                      <a:pt x="0" y="270"/>
                    </a:lnTo>
                    <a:lnTo>
                      <a:pt x="87" y="0"/>
                    </a:lnTo>
                    <a:lnTo>
                      <a:pt x="32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8947FA1C-4E26-45EF-A33F-33AD697ECD51}"/>
                </a:ext>
              </a:extLst>
            </p:cNvPr>
            <p:cNvGrpSpPr/>
            <p:nvPr/>
          </p:nvGrpSpPr>
          <p:grpSpPr>
            <a:xfrm>
              <a:off x="1224581" y="2015160"/>
              <a:ext cx="692208" cy="664910"/>
              <a:chOff x="1224581" y="2015160"/>
              <a:chExt cx="692208" cy="664910"/>
            </a:xfrm>
            <a:grpFill/>
          </p:grpSpPr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3AFAAD5-9F8B-43C3-B8FA-B1AB6A51FB02}"/>
                  </a:ext>
                </a:extLst>
              </p:cNvPr>
              <p:cNvGrpSpPr/>
              <p:nvPr/>
            </p:nvGrpSpPr>
            <p:grpSpPr>
              <a:xfrm>
                <a:off x="1732976" y="2357366"/>
                <a:ext cx="183813" cy="322704"/>
                <a:chOff x="5823822" y="2769728"/>
                <a:chExt cx="1289361" cy="2263613"/>
              </a:xfrm>
              <a:grpFill/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C57246F0-F289-4CC3-9C69-2362255B0B06}"/>
                    </a:ext>
                  </a:extLst>
                </p:cNvPr>
                <p:cNvSpPr/>
                <p:nvPr/>
              </p:nvSpPr>
              <p:spPr>
                <a:xfrm>
                  <a:off x="5823822" y="2769728"/>
                  <a:ext cx="737315" cy="992913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kern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5" name="Freeform 321">
                  <a:extLst>
                    <a:ext uri="{FF2B5EF4-FFF2-40B4-BE49-F238E27FC236}">
                      <a16:creationId xmlns:a16="http://schemas.microsoft.com/office/drawing/2014/main" id="{61BBA7FD-9FE4-4B23-9B41-FE54B3F93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41655" y="3786707"/>
                  <a:ext cx="1271528" cy="1246634"/>
                </a:xfrm>
                <a:custGeom>
                  <a:avLst/>
                  <a:gdLst>
                    <a:gd name="connsiteX0" fmla="*/ 1152573 w 1271528"/>
                    <a:gd name="connsiteY0" fmla="*/ 0 h 1246634"/>
                    <a:gd name="connsiteX1" fmla="*/ 910518 w 1271528"/>
                    <a:gd name="connsiteY1" fmla="*/ 385270 h 1246634"/>
                    <a:gd name="connsiteX2" fmla="*/ 635214 w 1271528"/>
                    <a:gd name="connsiteY2" fmla="*/ 16625 h 1246634"/>
                    <a:gd name="connsiteX3" fmla="*/ 0 w 1271528"/>
                    <a:gd name="connsiteY3" fmla="*/ 462751 h 1246634"/>
                    <a:gd name="connsiteX4" fmla="*/ 33467 w 1271528"/>
                    <a:gd name="connsiteY4" fmla="*/ 1141538 h 1246634"/>
                    <a:gd name="connsiteX5" fmla="*/ 38305 w 1271528"/>
                    <a:gd name="connsiteY5" fmla="*/ 1246634 h 1246634"/>
                    <a:gd name="connsiteX6" fmla="*/ 858994 w 1271528"/>
                    <a:gd name="connsiteY6" fmla="*/ 1246634 h 1246634"/>
                    <a:gd name="connsiteX7" fmla="*/ 1271528 w 1271528"/>
                    <a:gd name="connsiteY7" fmla="*/ 9736 h 124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71528" h="1246634">
                      <a:moveTo>
                        <a:pt x="1152573" y="0"/>
                      </a:moveTo>
                      <a:lnTo>
                        <a:pt x="910518" y="385270"/>
                      </a:lnTo>
                      <a:lnTo>
                        <a:pt x="635214" y="16625"/>
                      </a:lnTo>
                      <a:cubicBezTo>
                        <a:pt x="302309" y="26342"/>
                        <a:pt x="6875" y="183158"/>
                        <a:pt x="0" y="462751"/>
                      </a:cubicBezTo>
                      <a:cubicBezTo>
                        <a:pt x="12121" y="667498"/>
                        <a:pt x="22794" y="904450"/>
                        <a:pt x="33467" y="1141538"/>
                      </a:cubicBezTo>
                      <a:lnTo>
                        <a:pt x="38305" y="1246634"/>
                      </a:lnTo>
                      <a:lnTo>
                        <a:pt x="858994" y="1246634"/>
                      </a:lnTo>
                      <a:lnTo>
                        <a:pt x="1271528" y="973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kern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E6F4BA65-9166-41CE-97C9-6CE02F7C140C}"/>
                  </a:ext>
                </a:extLst>
              </p:cNvPr>
              <p:cNvGrpSpPr/>
              <p:nvPr/>
            </p:nvGrpSpPr>
            <p:grpSpPr>
              <a:xfrm flipH="1">
                <a:off x="1224581" y="2357366"/>
                <a:ext cx="183813" cy="322704"/>
                <a:chOff x="5823822" y="2769728"/>
                <a:chExt cx="1289361" cy="2263613"/>
              </a:xfrm>
              <a:grpFill/>
            </p:grpSpPr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2DC894FE-A653-42F6-9B66-7779B807239E}"/>
                    </a:ext>
                  </a:extLst>
                </p:cNvPr>
                <p:cNvSpPr/>
                <p:nvPr/>
              </p:nvSpPr>
              <p:spPr>
                <a:xfrm>
                  <a:off x="5823822" y="2769728"/>
                  <a:ext cx="737315" cy="992913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kern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Freeform 319">
                  <a:extLst>
                    <a:ext uri="{FF2B5EF4-FFF2-40B4-BE49-F238E27FC236}">
                      <a16:creationId xmlns:a16="http://schemas.microsoft.com/office/drawing/2014/main" id="{330917FF-15F2-40D5-ADC6-D1BCD6792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41655" y="3786707"/>
                  <a:ext cx="1271528" cy="1246634"/>
                </a:xfrm>
                <a:custGeom>
                  <a:avLst/>
                  <a:gdLst>
                    <a:gd name="connsiteX0" fmla="*/ 1152573 w 1271528"/>
                    <a:gd name="connsiteY0" fmla="*/ 0 h 1246634"/>
                    <a:gd name="connsiteX1" fmla="*/ 910518 w 1271528"/>
                    <a:gd name="connsiteY1" fmla="*/ 385270 h 1246634"/>
                    <a:gd name="connsiteX2" fmla="*/ 635214 w 1271528"/>
                    <a:gd name="connsiteY2" fmla="*/ 16625 h 1246634"/>
                    <a:gd name="connsiteX3" fmla="*/ 0 w 1271528"/>
                    <a:gd name="connsiteY3" fmla="*/ 462751 h 1246634"/>
                    <a:gd name="connsiteX4" fmla="*/ 33467 w 1271528"/>
                    <a:gd name="connsiteY4" fmla="*/ 1141538 h 1246634"/>
                    <a:gd name="connsiteX5" fmla="*/ 38305 w 1271528"/>
                    <a:gd name="connsiteY5" fmla="*/ 1246634 h 1246634"/>
                    <a:gd name="connsiteX6" fmla="*/ 858994 w 1271528"/>
                    <a:gd name="connsiteY6" fmla="*/ 1246634 h 1246634"/>
                    <a:gd name="connsiteX7" fmla="*/ 1271528 w 1271528"/>
                    <a:gd name="connsiteY7" fmla="*/ 9736 h 124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71528" h="1246634">
                      <a:moveTo>
                        <a:pt x="1152573" y="0"/>
                      </a:moveTo>
                      <a:lnTo>
                        <a:pt x="910518" y="385270"/>
                      </a:lnTo>
                      <a:lnTo>
                        <a:pt x="635214" y="16625"/>
                      </a:lnTo>
                      <a:cubicBezTo>
                        <a:pt x="302309" y="26342"/>
                        <a:pt x="6875" y="183158"/>
                        <a:pt x="0" y="462751"/>
                      </a:cubicBezTo>
                      <a:cubicBezTo>
                        <a:pt x="12121" y="667498"/>
                        <a:pt x="22794" y="904450"/>
                        <a:pt x="33467" y="1141538"/>
                      </a:cubicBezTo>
                      <a:lnTo>
                        <a:pt x="38305" y="1246634"/>
                      </a:lnTo>
                      <a:lnTo>
                        <a:pt x="858994" y="1246634"/>
                      </a:lnTo>
                      <a:lnTo>
                        <a:pt x="1271528" y="973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kern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DAFE2C60-8310-48A0-BF23-4F0465986E61}"/>
                  </a:ext>
                </a:extLst>
              </p:cNvPr>
              <p:cNvGrpSpPr/>
              <p:nvPr/>
            </p:nvGrpSpPr>
            <p:grpSpPr>
              <a:xfrm>
                <a:off x="1427841" y="2015160"/>
                <a:ext cx="281366" cy="476875"/>
                <a:chOff x="1427841" y="2015160"/>
                <a:chExt cx="281366" cy="476875"/>
              </a:xfrm>
              <a:grpFill/>
            </p:grpSpPr>
            <p:grpSp>
              <p:nvGrpSpPr>
                <p:cNvPr id="113" name="Group 112">
                  <a:extLst>
                    <a:ext uri="{FF2B5EF4-FFF2-40B4-BE49-F238E27FC236}">
                      <a16:creationId xmlns:a16="http://schemas.microsoft.com/office/drawing/2014/main" id="{609ACB9D-C8FD-4344-B180-C62CF27F2CA3}"/>
                    </a:ext>
                  </a:extLst>
                </p:cNvPr>
                <p:cNvGrpSpPr/>
                <p:nvPr/>
              </p:nvGrpSpPr>
              <p:grpSpPr>
                <a:xfrm>
                  <a:off x="1427841" y="2015160"/>
                  <a:ext cx="281366" cy="476875"/>
                  <a:chOff x="1427841" y="2015160"/>
                  <a:chExt cx="281366" cy="476875"/>
                </a:xfrm>
                <a:grpFill/>
              </p:grpSpPr>
              <p:sp>
                <p:nvSpPr>
                  <p:cNvPr id="120" name="Oval 119">
                    <a:extLst>
                      <a:ext uri="{FF2B5EF4-FFF2-40B4-BE49-F238E27FC236}">
                        <a16:creationId xmlns:a16="http://schemas.microsoft.com/office/drawing/2014/main" id="{EE0B680F-8008-40E8-B163-B21B23C94A52}"/>
                      </a:ext>
                    </a:extLst>
                  </p:cNvPr>
                  <p:cNvSpPr/>
                  <p:nvPr/>
                </p:nvSpPr>
                <p:spPr>
                  <a:xfrm>
                    <a:off x="1522572" y="2015160"/>
                    <a:ext cx="93189" cy="124251"/>
                  </a:xfrm>
                  <a:prstGeom prst="ellipse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1" name="Freeform 317">
                    <a:extLst>
                      <a:ext uri="{FF2B5EF4-FFF2-40B4-BE49-F238E27FC236}">
                        <a16:creationId xmlns:a16="http://schemas.microsoft.com/office/drawing/2014/main" id="{1ABDE61C-CD0C-4DC2-873B-446DDCC482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flipH="1">
                    <a:off x="1427841" y="2140111"/>
                    <a:ext cx="281366" cy="351924"/>
                  </a:xfrm>
                  <a:custGeom>
                    <a:avLst/>
                    <a:gdLst>
                      <a:gd name="connsiteX0" fmla="*/ 1382521 w 1973650"/>
                      <a:gd name="connsiteY0" fmla="*/ 0 h 2468580"/>
                      <a:gd name="connsiteX1" fmla="*/ 986825 w 1973650"/>
                      <a:gd name="connsiteY1" fmla="*/ 847464 h 2468580"/>
                      <a:gd name="connsiteX2" fmla="*/ 591129 w 1973650"/>
                      <a:gd name="connsiteY2" fmla="*/ 0 h 2468580"/>
                      <a:gd name="connsiteX3" fmla="*/ 0 w 1973650"/>
                      <a:gd name="connsiteY3" fmla="*/ 480271 h 2468580"/>
                      <a:gd name="connsiteX4" fmla="*/ 73891 w 1973650"/>
                      <a:gd name="connsiteY4" fmla="*/ 1979876 h 2468580"/>
                      <a:gd name="connsiteX5" fmla="*/ 381638 w 1973650"/>
                      <a:gd name="connsiteY5" fmla="*/ 1973917 h 2468580"/>
                      <a:gd name="connsiteX6" fmla="*/ 345989 w 1973650"/>
                      <a:gd name="connsiteY6" fmla="*/ 713942 h 2468580"/>
                      <a:gd name="connsiteX7" fmla="*/ 405203 w 1973650"/>
                      <a:gd name="connsiteY7" fmla="*/ 707350 h 2468580"/>
                      <a:gd name="connsiteX8" fmla="*/ 473703 w 1973650"/>
                      <a:gd name="connsiteY8" fmla="*/ 2068462 h 2468580"/>
                      <a:gd name="connsiteX9" fmla="*/ 478192 w 1973650"/>
                      <a:gd name="connsiteY9" fmla="*/ 2468580 h 2468580"/>
                      <a:gd name="connsiteX10" fmla="*/ 915088 w 1973650"/>
                      <a:gd name="connsiteY10" fmla="*/ 2468580 h 2468580"/>
                      <a:gd name="connsiteX11" fmla="*/ 949801 w 1973650"/>
                      <a:gd name="connsiteY11" fmla="*/ 1955644 h 2468580"/>
                      <a:gd name="connsiteX12" fmla="*/ 1023849 w 1973650"/>
                      <a:gd name="connsiteY12" fmla="*/ 1955644 h 2468580"/>
                      <a:gd name="connsiteX13" fmla="*/ 1059888 w 1973650"/>
                      <a:gd name="connsiteY13" fmla="*/ 2468580 h 2468580"/>
                      <a:gd name="connsiteX14" fmla="*/ 1496838 w 1973650"/>
                      <a:gd name="connsiteY14" fmla="*/ 2468580 h 2468580"/>
                      <a:gd name="connsiteX15" fmla="*/ 1499948 w 1973650"/>
                      <a:gd name="connsiteY15" fmla="*/ 2068462 h 2468580"/>
                      <a:gd name="connsiteX16" fmla="*/ 1572742 w 1973650"/>
                      <a:gd name="connsiteY16" fmla="*/ 698761 h 2468580"/>
                      <a:gd name="connsiteX17" fmla="*/ 1629809 w 1973650"/>
                      <a:gd name="connsiteY17" fmla="*/ 705351 h 2468580"/>
                      <a:gd name="connsiteX18" fmla="*/ 1592012 w 1973650"/>
                      <a:gd name="connsiteY18" fmla="*/ 1973917 h 2468580"/>
                      <a:gd name="connsiteX19" fmla="*/ 1899759 w 1973650"/>
                      <a:gd name="connsiteY19" fmla="*/ 1979876 h 2468580"/>
                      <a:gd name="connsiteX20" fmla="*/ 1973650 w 1973650"/>
                      <a:gd name="connsiteY20" fmla="*/ 480271 h 2468580"/>
                      <a:gd name="connsiteX21" fmla="*/ 1382521 w 1973650"/>
                      <a:gd name="connsiteY21" fmla="*/ 0 h 24685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973650" h="2468580">
                        <a:moveTo>
                          <a:pt x="1382521" y="0"/>
                        </a:moveTo>
                        <a:lnTo>
                          <a:pt x="986825" y="847464"/>
                        </a:lnTo>
                        <a:lnTo>
                          <a:pt x="591129" y="0"/>
                        </a:lnTo>
                        <a:cubicBezTo>
                          <a:pt x="168552" y="10726"/>
                          <a:pt x="7589" y="171611"/>
                          <a:pt x="0" y="480271"/>
                        </a:cubicBezTo>
                        <a:cubicBezTo>
                          <a:pt x="26761" y="932337"/>
                          <a:pt x="47131" y="1526618"/>
                          <a:pt x="73891" y="1979876"/>
                        </a:cubicBezTo>
                        <a:cubicBezTo>
                          <a:pt x="106044" y="2114145"/>
                          <a:pt x="364663" y="2074420"/>
                          <a:pt x="381638" y="1973917"/>
                        </a:cubicBezTo>
                        <a:cubicBezTo>
                          <a:pt x="368258" y="1571506"/>
                          <a:pt x="359369" y="1115955"/>
                          <a:pt x="345989" y="713942"/>
                        </a:cubicBezTo>
                        <a:cubicBezTo>
                          <a:pt x="349685" y="649402"/>
                          <a:pt x="408552" y="659669"/>
                          <a:pt x="405203" y="707350"/>
                        </a:cubicBezTo>
                        <a:cubicBezTo>
                          <a:pt x="427970" y="1141142"/>
                          <a:pt x="450936" y="1634668"/>
                          <a:pt x="473703" y="2068462"/>
                        </a:cubicBezTo>
                        <a:lnTo>
                          <a:pt x="478192" y="2468580"/>
                        </a:lnTo>
                        <a:lnTo>
                          <a:pt x="915088" y="2468580"/>
                        </a:lnTo>
                        <a:lnTo>
                          <a:pt x="949801" y="1955644"/>
                        </a:lnTo>
                        <a:cubicBezTo>
                          <a:pt x="961341" y="1902543"/>
                          <a:pt x="1023082" y="1920495"/>
                          <a:pt x="1023849" y="1955644"/>
                        </a:cubicBezTo>
                        <a:lnTo>
                          <a:pt x="1059888" y="2468580"/>
                        </a:lnTo>
                        <a:lnTo>
                          <a:pt x="1496838" y="2468580"/>
                        </a:lnTo>
                        <a:lnTo>
                          <a:pt x="1499948" y="2068462"/>
                        </a:lnTo>
                        <a:cubicBezTo>
                          <a:pt x="1522714" y="1634668"/>
                          <a:pt x="1549975" y="1132553"/>
                          <a:pt x="1572742" y="698761"/>
                        </a:cubicBezTo>
                        <a:cubicBezTo>
                          <a:pt x="1584426" y="657522"/>
                          <a:pt x="1634371" y="662287"/>
                          <a:pt x="1629809" y="705351"/>
                        </a:cubicBezTo>
                        <a:cubicBezTo>
                          <a:pt x="1616429" y="1107365"/>
                          <a:pt x="1605393" y="1571506"/>
                          <a:pt x="1592012" y="1973917"/>
                        </a:cubicBezTo>
                        <a:cubicBezTo>
                          <a:pt x="1608987" y="2074420"/>
                          <a:pt x="1867607" y="2114145"/>
                          <a:pt x="1899759" y="1979876"/>
                        </a:cubicBezTo>
                        <a:cubicBezTo>
                          <a:pt x="1926520" y="1526618"/>
                          <a:pt x="1946890" y="932337"/>
                          <a:pt x="1973650" y="480271"/>
                        </a:cubicBezTo>
                        <a:cubicBezTo>
                          <a:pt x="1966062" y="171611"/>
                          <a:pt x="1805098" y="10726"/>
                          <a:pt x="1382521" y="0"/>
                        </a:cubicBez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14" name="Group 113">
                  <a:extLst>
                    <a:ext uri="{FF2B5EF4-FFF2-40B4-BE49-F238E27FC236}">
                      <a16:creationId xmlns:a16="http://schemas.microsoft.com/office/drawing/2014/main" id="{B3FB70D8-D1E0-4694-9E41-F86E6128493B}"/>
                    </a:ext>
                  </a:extLst>
                </p:cNvPr>
                <p:cNvGrpSpPr/>
                <p:nvPr/>
              </p:nvGrpSpPr>
              <p:grpSpPr>
                <a:xfrm>
                  <a:off x="1546584" y="2145019"/>
                  <a:ext cx="44375" cy="95758"/>
                  <a:chOff x="1544531" y="2140590"/>
                  <a:chExt cx="48480" cy="104616"/>
                </a:xfrm>
                <a:grpFill/>
              </p:grpSpPr>
              <p:sp>
                <p:nvSpPr>
                  <p:cNvPr id="115" name="Freeform 94">
                    <a:extLst>
                      <a:ext uri="{FF2B5EF4-FFF2-40B4-BE49-F238E27FC236}">
                        <a16:creationId xmlns:a16="http://schemas.microsoft.com/office/drawing/2014/main" id="{5119A0D1-794E-46FB-BD28-60AFA8B35F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0910" y="2192898"/>
                    <a:ext cx="42101" cy="25516"/>
                  </a:xfrm>
                  <a:custGeom>
                    <a:avLst/>
                    <a:gdLst>
                      <a:gd name="T0" fmla="*/ 33 w 33"/>
                      <a:gd name="T1" fmla="*/ 0 h 20"/>
                      <a:gd name="T2" fmla="*/ 28 w 33"/>
                      <a:gd name="T3" fmla="*/ 12 h 20"/>
                      <a:gd name="T4" fmla="*/ 5 w 33"/>
                      <a:gd name="T5" fmla="*/ 20 h 20"/>
                      <a:gd name="T6" fmla="*/ 0 w 33"/>
                      <a:gd name="T7" fmla="*/ 12 h 20"/>
                      <a:gd name="T8" fmla="*/ 33 w 33"/>
                      <a:gd name="T9" fmla="*/ 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20">
                        <a:moveTo>
                          <a:pt x="33" y="0"/>
                        </a:moveTo>
                        <a:lnTo>
                          <a:pt x="28" y="12"/>
                        </a:lnTo>
                        <a:lnTo>
                          <a:pt x="5" y="20"/>
                        </a:lnTo>
                        <a:lnTo>
                          <a:pt x="0" y="12"/>
                        </a:lnTo>
                        <a:lnTo>
                          <a:pt x="33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6" name="Freeform 95">
                    <a:extLst>
                      <a:ext uri="{FF2B5EF4-FFF2-40B4-BE49-F238E27FC236}">
                        <a16:creationId xmlns:a16="http://schemas.microsoft.com/office/drawing/2014/main" id="{A0E536D5-D435-41F0-8DFA-F7D7CE0A31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44531" y="2175037"/>
                    <a:ext cx="47205" cy="28067"/>
                  </a:xfrm>
                  <a:custGeom>
                    <a:avLst/>
                    <a:gdLst>
                      <a:gd name="T0" fmla="*/ 33 w 37"/>
                      <a:gd name="T1" fmla="*/ 0 h 22"/>
                      <a:gd name="T2" fmla="*/ 37 w 37"/>
                      <a:gd name="T3" fmla="*/ 10 h 22"/>
                      <a:gd name="T4" fmla="*/ 4 w 37"/>
                      <a:gd name="T5" fmla="*/ 22 h 22"/>
                      <a:gd name="T6" fmla="*/ 0 w 37"/>
                      <a:gd name="T7" fmla="*/ 14 h 22"/>
                      <a:gd name="T8" fmla="*/ 1 w 37"/>
                      <a:gd name="T9" fmla="*/ 12 h 22"/>
                      <a:gd name="T10" fmla="*/ 33 w 37"/>
                      <a:gd name="T11" fmla="*/ 0 h 22"/>
                      <a:gd name="connsiteX0" fmla="*/ 8919 w 10000"/>
                      <a:gd name="connsiteY0" fmla="*/ 0 h 10000"/>
                      <a:gd name="connsiteX1" fmla="*/ 10000 w 10000"/>
                      <a:gd name="connsiteY1" fmla="*/ 4545 h 10000"/>
                      <a:gd name="connsiteX2" fmla="*/ 1081 w 10000"/>
                      <a:gd name="connsiteY2" fmla="*/ 10000 h 10000"/>
                      <a:gd name="connsiteX3" fmla="*/ 0 w 10000"/>
                      <a:gd name="connsiteY3" fmla="*/ 6364 h 10000"/>
                      <a:gd name="connsiteX4" fmla="*/ 8919 w 10000"/>
                      <a:gd name="connsiteY4" fmla="*/ 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000" h="10000">
                        <a:moveTo>
                          <a:pt x="8919" y="0"/>
                        </a:moveTo>
                        <a:lnTo>
                          <a:pt x="10000" y="4545"/>
                        </a:lnTo>
                        <a:lnTo>
                          <a:pt x="1081" y="10000"/>
                        </a:lnTo>
                        <a:lnTo>
                          <a:pt x="0" y="6364"/>
                        </a:lnTo>
                        <a:lnTo>
                          <a:pt x="8919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7" name="Freeform 96">
                    <a:extLst>
                      <a:ext uri="{FF2B5EF4-FFF2-40B4-BE49-F238E27FC236}">
                        <a16:creationId xmlns:a16="http://schemas.microsoft.com/office/drawing/2014/main" id="{4D89AEDB-E423-4304-8868-9B7FE89E8B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49634" y="2158451"/>
                    <a:ext cx="34446" cy="24240"/>
                  </a:xfrm>
                  <a:custGeom>
                    <a:avLst/>
                    <a:gdLst>
                      <a:gd name="T0" fmla="*/ 24 w 27"/>
                      <a:gd name="T1" fmla="*/ 0 h 19"/>
                      <a:gd name="T2" fmla="*/ 27 w 27"/>
                      <a:gd name="T3" fmla="*/ 9 h 19"/>
                      <a:gd name="T4" fmla="*/ 0 w 27"/>
                      <a:gd name="T5" fmla="*/ 19 h 19"/>
                      <a:gd name="T6" fmla="*/ 3 w 27"/>
                      <a:gd name="T7" fmla="*/ 7 h 19"/>
                      <a:gd name="T8" fmla="*/ 24 w 27"/>
                      <a:gd name="T9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19">
                        <a:moveTo>
                          <a:pt x="24" y="0"/>
                        </a:moveTo>
                        <a:lnTo>
                          <a:pt x="27" y="9"/>
                        </a:lnTo>
                        <a:lnTo>
                          <a:pt x="0" y="19"/>
                        </a:lnTo>
                        <a:lnTo>
                          <a:pt x="3" y="7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8" name="Freeform 97">
                    <a:extLst>
                      <a:ext uri="{FF2B5EF4-FFF2-40B4-BE49-F238E27FC236}">
                        <a16:creationId xmlns:a16="http://schemas.microsoft.com/office/drawing/2014/main" id="{0AF78D13-4FB7-40DA-8E54-C8895E4886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8565" y="2215862"/>
                    <a:ext cx="24240" cy="29344"/>
                  </a:xfrm>
                  <a:custGeom>
                    <a:avLst/>
                    <a:gdLst>
                      <a:gd name="T0" fmla="*/ 19 w 19"/>
                      <a:gd name="T1" fmla="*/ 0 h 23"/>
                      <a:gd name="T2" fmla="*/ 7 w 19"/>
                      <a:gd name="T3" fmla="*/ 23 h 23"/>
                      <a:gd name="T4" fmla="*/ 0 w 19"/>
                      <a:gd name="T5" fmla="*/ 7 h 23"/>
                      <a:gd name="T6" fmla="*/ 19 w 19"/>
                      <a:gd name="T7" fmla="*/ 0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" h="23">
                        <a:moveTo>
                          <a:pt x="19" y="0"/>
                        </a:moveTo>
                        <a:lnTo>
                          <a:pt x="7" y="23"/>
                        </a:lnTo>
                        <a:lnTo>
                          <a:pt x="0" y="7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9" name="Freeform 98">
                    <a:extLst>
                      <a:ext uri="{FF2B5EF4-FFF2-40B4-BE49-F238E27FC236}">
                        <a16:creationId xmlns:a16="http://schemas.microsoft.com/office/drawing/2014/main" id="{BCCE17CA-726F-4C3B-BB36-797D11758B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7289" y="2140590"/>
                    <a:ext cx="21688" cy="20412"/>
                  </a:xfrm>
                  <a:custGeom>
                    <a:avLst/>
                    <a:gdLst>
                      <a:gd name="T0" fmla="*/ 13 w 17"/>
                      <a:gd name="T1" fmla="*/ 0 h 16"/>
                      <a:gd name="T2" fmla="*/ 17 w 17"/>
                      <a:gd name="T3" fmla="*/ 10 h 16"/>
                      <a:gd name="T4" fmla="*/ 0 w 17"/>
                      <a:gd name="T5" fmla="*/ 16 h 16"/>
                      <a:gd name="T6" fmla="*/ 5 w 17"/>
                      <a:gd name="T7" fmla="*/ 0 h 16"/>
                      <a:gd name="T8" fmla="*/ 13 w 17"/>
                      <a:gd name="T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16">
                        <a:moveTo>
                          <a:pt x="13" y="0"/>
                        </a:moveTo>
                        <a:lnTo>
                          <a:pt x="17" y="10"/>
                        </a:lnTo>
                        <a:lnTo>
                          <a:pt x="0" y="16"/>
                        </a:lnTo>
                        <a:lnTo>
                          <a:pt x="5" y="0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kern="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</p:grpSp>
      <p:pic>
        <p:nvPicPr>
          <p:cNvPr id="25604" name="Picture 4" descr="Medianova – Medium">
            <a:extLst>
              <a:ext uri="{FF2B5EF4-FFF2-40B4-BE49-F238E27FC236}">
                <a16:creationId xmlns:a16="http://schemas.microsoft.com/office/drawing/2014/main" id="{20DC7F10-C6DA-4E25-A53A-B63CF41CF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526" y="1638277"/>
            <a:ext cx="675826" cy="675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6BC3864-F1C8-4F4B-97E9-D1D2EADB827B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7B62179E-D9CE-4E43-8EA1-34EDBD6F13DD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17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E1759C-D40C-9D83-9F20-CE64451A8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80960"/>
            <a:ext cx="8290560" cy="646331"/>
          </a:xfrm>
        </p:spPr>
        <p:txBody>
          <a:bodyPr>
            <a:normAutofit/>
          </a:bodyPr>
          <a:lstStyle/>
          <a:p>
            <a:r>
              <a:rPr lang="en-US" sz="3600" b="1" dirty="0"/>
              <a:t>Key Resul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EDD410-69A3-17CE-8C4C-F53AF7A00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114C2B-B429-D87C-72DD-292CBEB6E7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10" name="Minus Sign 9">
            <a:extLst>
              <a:ext uri="{FF2B5EF4-FFF2-40B4-BE49-F238E27FC236}">
                <a16:creationId xmlns:a16="http://schemas.microsoft.com/office/drawing/2014/main" id="{8CF3E22D-8D26-4C20-8614-FA9E42655F9F}"/>
              </a:ext>
            </a:extLst>
          </p:cNvPr>
          <p:cNvSpPr/>
          <p:nvPr/>
        </p:nvSpPr>
        <p:spPr>
          <a:xfrm>
            <a:off x="-2187915" y="900634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EB5E9C-6CD5-45A7-AE61-85140F7F0DD8}"/>
              </a:ext>
            </a:extLst>
          </p:cNvPr>
          <p:cNvSpPr/>
          <p:nvPr/>
        </p:nvSpPr>
        <p:spPr>
          <a:xfrm>
            <a:off x="5833918" y="1629991"/>
            <a:ext cx="5403273" cy="401781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C8D820C6-C590-47E6-BD68-DE10F50B19CD}"/>
              </a:ext>
            </a:extLst>
          </p:cNvPr>
          <p:cNvSpPr/>
          <p:nvPr/>
        </p:nvSpPr>
        <p:spPr>
          <a:xfrm>
            <a:off x="420415" y="1731621"/>
            <a:ext cx="4055758" cy="3816598"/>
          </a:xfrm>
          <a:prstGeom prst="homePlate">
            <a:avLst/>
          </a:prstGeom>
          <a:solidFill>
            <a:srgbClr val="068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hevron 6">
            <a:extLst>
              <a:ext uri="{FF2B5EF4-FFF2-40B4-BE49-F238E27FC236}">
                <a16:creationId xmlns:a16="http://schemas.microsoft.com/office/drawing/2014/main" id="{2387C9BE-7F4B-4E2F-B404-319BEE11189A}"/>
              </a:ext>
            </a:extLst>
          </p:cNvPr>
          <p:cNvSpPr/>
          <p:nvPr/>
        </p:nvSpPr>
        <p:spPr>
          <a:xfrm>
            <a:off x="2832100" y="1629991"/>
            <a:ext cx="8241579" cy="4017818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DF743A-2FEA-4507-B990-8AF93D0CC951}"/>
              </a:ext>
            </a:extLst>
          </p:cNvPr>
          <p:cNvSpPr/>
          <p:nvPr/>
        </p:nvSpPr>
        <p:spPr>
          <a:xfrm>
            <a:off x="5003759" y="1731621"/>
            <a:ext cx="1735323" cy="7108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C4FC05E-00CB-4B6E-8205-B63875FC2DB9}"/>
              </a:ext>
            </a:extLst>
          </p:cNvPr>
          <p:cNvSpPr txBox="1"/>
          <p:nvPr/>
        </p:nvSpPr>
        <p:spPr>
          <a:xfrm>
            <a:off x="454114" y="2614682"/>
            <a:ext cx="3175215" cy="190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bg1"/>
                </a:solidFill>
                <a:latin typeface="29LT Bukra Md" panose="00000600000000000000" pitchFamily="50" charset="-78"/>
                <a:cs typeface="29LT Bukra Md" panose="00000600000000000000" pitchFamily="50" charset="-78"/>
              </a:rPr>
              <a:t>The joint efforts and collaborative work has a clear impact on the following area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A41A9A-2F9F-4ED2-B08B-665C73DB3F9B}"/>
              </a:ext>
            </a:extLst>
          </p:cNvPr>
          <p:cNvSpPr/>
          <p:nvPr/>
        </p:nvSpPr>
        <p:spPr>
          <a:xfrm>
            <a:off x="5003758" y="2772855"/>
            <a:ext cx="1735323" cy="6928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40297A-6633-4A47-ACBA-F97C24D08D6B}"/>
              </a:ext>
            </a:extLst>
          </p:cNvPr>
          <p:cNvSpPr/>
          <p:nvPr/>
        </p:nvSpPr>
        <p:spPr>
          <a:xfrm>
            <a:off x="5125679" y="1946479"/>
            <a:ext cx="1028038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600" b="1" dirty="0"/>
              <a:t>Resilienc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2D5F17-FC24-4A3A-8FC1-2D0CB152A3FD}"/>
              </a:ext>
            </a:extLst>
          </p:cNvPr>
          <p:cNvSpPr/>
          <p:nvPr/>
        </p:nvSpPr>
        <p:spPr>
          <a:xfrm>
            <a:off x="5125679" y="2966649"/>
            <a:ext cx="1083630" cy="338554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US" sz="1600" b="1" dirty="0"/>
              <a:t>Econom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094A615-97B9-4278-A87D-CCA6458A8161}"/>
              </a:ext>
            </a:extLst>
          </p:cNvPr>
          <p:cNvSpPr/>
          <p:nvPr/>
        </p:nvSpPr>
        <p:spPr>
          <a:xfrm>
            <a:off x="6810555" y="1731621"/>
            <a:ext cx="4112599" cy="692897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109728" tIns="109728" rIns="109728" bIns="109728" rtlCol="0" anchor="ctr"/>
          <a:lstStyle/>
          <a:p>
            <a:pPr>
              <a:spcAft>
                <a:spcPts val="100"/>
              </a:spcAft>
            </a:pPr>
            <a:r>
              <a:rPr lang="en-US" sz="1400" b="1" kern="0" dirty="0"/>
              <a:t>+80% </a:t>
            </a:r>
            <a:r>
              <a:rPr lang="en-US" sz="1400" kern="0" dirty="0"/>
              <a:t>enhancement in the latency to services/ content connected to SAIX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C8683CD-08BD-48A7-8023-FF4053B84E5F}"/>
              </a:ext>
            </a:extLst>
          </p:cNvPr>
          <p:cNvGrpSpPr/>
          <p:nvPr/>
        </p:nvGrpSpPr>
        <p:grpSpPr>
          <a:xfrm>
            <a:off x="5003757" y="4851015"/>
            <a:ext cx="5945515" cy="697204"/>
            <a:chOff x="5003758" y="3829394"/>
            <a:chExt cx="5945515" cy="69720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7CB34DC-669D-41E7-9BEA-6AC689F706DC}"/>
                </a:ext>
              </a:extLst>
            </p:cNvPr>
            <p:cNvSpPr/>
            <p:nvPr/>
          </p:nvSpPr>
          <p:spPr>
            <a:xfrm>
              <a:off x="5003758" y="3829394"/>
              <a:ext cx="1735323" cy="6928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0E070-D393-42B0-8338-4B06644F03A8}"/>
                </a:ext>
              </a:extLst>
            </p:cNvPr>
            <p:cNvSpPr/>
            <p:nvPr/>
          </p:nvSpPr>
          <p:spPr>
            <a:xfrm>
              <a:off x="5125677" y="3887058"/>
              <a:ext cx="1164101" cy="58477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US" sz="1600" b="1" dirty="0"/>
                <a:t>User </a:t>
              </a:r>
            </a:p>
            <a:p>
              <a:r>
                <a:rPr lang="en-US" sz="1600" b="1" dirty="0"/>
                <a:t>Experience 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84A39E3-9FB7-4004-9E6F-068C0AA5F9BF}"/>
                </a:ext>
              </a:extLst>
            </p:cNvPr>
            <p:cNvSpPr/>
            <p:nvPr/>
          </p:nvSpPr>
          <p:spPr>
            <a:xfrm>
              <a:off x="6836674" y="3833701"/>
              <a:ext cx="4112599" cy="692897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9728" tIns="109728" rIns="109728" bIns="109728" rtlCol="0" anchor="ctr"/>
            <a:lstStyle/>
            <a:p>
              <a:pPr>
                <a:spcAft>
                  <a:spcPts val="100"/>
                </a:spcAft>
              </a:pPr>
              <a:r>
                <a:rPr lang="en-US" sz="1400" b="1" kern="0" dirty="0"/>
                <a:t>+80% </a:t>
              </a:r>
              <a:r>
                <a:rPr lang="en-US" sz="1400" kern="0" dirty="0"/>
                <a:t>enhancement in the latency to services/ content connected to SAIX 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9142AAA9-8559-462B-8907-1883B0D36D18}"/>
              </a:ext>
            </a:extLst>
          </p:cNvPr>
          <p:cNvSpPr/>
          <p:nvPr/>
        </p:nvSpPr>
        <p:spPr>
          <a:xfrm>
            <a:off x="6810556" y="2772855"/>
            <a:ext cx="4101920" cy="692897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109728" rIns="0" bIns="109728" numCol="2" rtlCol="0" anchor="ctr"/>
          <a:lstStyle/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300" b="1" kern="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8526CE4-3A1C-4AF0-B675-38434793E90D}"/>
              </a:ext>
            </a:extLst>
          </p:cNvPr>
          <p:cNvSpPr/>
          <p:nvPr/>
        </p:nvSpPr>
        <p:spPr>
          <a:xfrm>
            <a:off x="6836673" y="2887098"/>
            <a:ext cx="4044051" cy="461175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b="1" kern="0" dirty="0">
                <a:solidFill>
                  <a:schemeClr val="tx1"/>
                </a:solidFill>
              </a:rPr>
              <a:t>~$30M </a:t>
            </a:r>
            <a:r>
              <a:rPr lang="en-US" sz="1400" kern="0" dirty="0">
                <a:solidFill>
                  <a:schemeClr val="tx1"/>
                </a:solidFill>
              </a:rPr>
              <a:t>Savings on the international connectivity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E0506E7-25DF-412F-841E-7DD7D0D26CB7}"/>
              </a:ext>
            </a:extLst>
          </p:cNvPr>
          <p:cNvSpPr/>
          <p:nvPr/>
        </p:nvSpPr>
        <p:spPr>
          <a:xfrm>
            <a:off x="6854159" y="1845540"/>
            <a:ext cx="3881742" cy="461175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b="1" kern="0" dirty="0">
                <a:solidFill>
                  <a:schemeClr val="tx1"/>
                </a:solidFill>
              </a:rPr>
              <a:t>6 DNS </a:t>
            </a:r>
            <a:r>
              <a:rPr lang="en-US" sz="1400" kern="0" dirty="0">
                <a:solidFill>
                  <a:schemeClr val="tx1"/>
                </a:solidFill>
              </a:rPr>
              <a:t>root servers</a:t>
            </a:r>
          </a:p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b="1" kern="0" dirty="0">
                <a:solidFill>
                  <a:schemeClr val="tx1"/>
                </a:solidFill>
              </a:rPr>
              <a:t>MANRS </a:t>
            </a:r>
            <a:r>
              <a:rPr lang="en-US" sz="1400" kern="0" dirty="0">
                <a:solidFill>
                  <a:schemeClr val="tx1"/>
                </a:solidFill>
              </a:rPr>
              <a:t>participant</a:t>
            </a:r>
            <a:r>
              <a:rPr lang="en-US" sz="1400" b="1" kern="0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b="1" kern="0" dirty="0">
                <a:solidFill>
                  <a:schemeClr val="tx1"/>
                </a:solidFill>
              </a:rPr>
              <a:t>X10 </a:t>
            </a:r>
            <a:r>
              <a:rPr lang="en-US" sz="1400" kern="0" dirty="0">
                <a:solidFill>
                  <a:schemeClr val="tx1"/>
                </a:solidFill>
              </a:rPr>
              <a:t>national</a:t>
            </a:r>
            <a:r>
              <a:rPr lang="en-US" sz="1400" b="1" kern="0" dirty="0">
                <a:solidFill>
                  <a:schemeClr val="tx1"/>
                </a:solidFill>
              </a:rPr>
              <a:t> capacit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0B9BC2B-E7A0-476D-8712-CF0A2B986BB3}"/>
              </a:ext>
            </a:extLst>
          </p:cNvPr>
          <p:cNvGrpSpPr/>
          <p:nvPr/>
        </p:nvGrpSpPr>
        <p:grpSpPr>
          <a:xfrm>
            <a:off x="5003757" y="3827844"/>
            <a:ext cx="5919396" cy="692898"/>
            <a:chOff x="5003757" y="4855322"/>
            <a:chExt cx="5919396" cy="692898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5B487BE-1117-4CF5-A179-B683647F911E}"/>
                </a:ext>
              </a:extLst>
            </p:cNvPr>
            <p:cNvSpPr/>
            <p:nvPr/>
          </p:nvSpPr>
          <p:spPr>
            <a:xfrm>
              <a:off x="5003757" y="4855323"/>
              <a:ext cx="1735323" cy="6928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51DD8CF-EC75-41A8-AEF7-86D07E1C3ED9}"/>
                </a:ext>
              </a:extLst>
            </p:cNvPr>
            <p:cNvSpPr/>
            <p:nvPr/>
          </p:nvSpPr>
          <p:spPr>
            <a:xfrm>
              <a:off x="5125679" y="5042602"/>
              <a:ext cx="1394228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US" sz="1600" b="1" dirty="0"/>
                <a:t>Attractiveness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C865B92-95CA-4089-91E9-CE537492F608}"/>
                </a:ext>
              </a:extLst>
            </p:cNvPr>
            <p:cNvGrpSpPr/>
            <p:nvPr/>
          </p:nvGrpSpPr>
          <p:grpSpPr>
            <a:xfrm>
              <a:off x="6810554" y="4855322"/>
              <a:ext cx="4112599" cy="692897"/>
              <a:chOff x="6962955" y="2925255"/>
              <a:chExt cx="4112599" cy="692897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002FF9B4-48F3-4ED1-B552-E4156AECD2DB}"/>
                  </a:ext>
                </a:extLst>
              </p:cNvPr>
              <p:cNvSpPr/>
              <p:nvPr/>
            </p:nvSpPr>
            <p:spPr>
              <a:xfrm>
                <a:off x="6962955" y="2925255"/>
                <a:ext cx="4112599" cy="692897"/>
              </a:xfrm>
              <a:prstGeom prst="rect">
                <a:avLst/>
              </a:prstGeom>
              <a:solidFill>
                <a:schemeClr val="bg1"/>
              </a:solidFill>
              <a:ln w="25400" cap="flat" cmpd="sng" algn="ctr">
                <a:noFill/>
                <a:prstDash val="solid"/>
              </a:ln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109728" rIns="0" bIns="109728" numCol="2" rtlCol="0" anchor="ctr"/>
              <a:lstStyle/>
              <a:p>
                <a:pPr marL="285750" indent="-285750">
                  <a:spcAft>
                    <a:spcPts val="100"/>
                  </a:spcAft>
                  <a:buFont typeface="Arial" panose="020B0604020202020204" pitchFamily="34" charset="0"/>
                  <a:buChar char="•"/>
                </a:pPr>
                <a:endParaRPr lang="en-US" sz="1400" b="1" kern="0" dirty="0"/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8DB9CB1-6671-4132-96AB-011C59159067}"/>
                  </a:ext>
                </a:extLst>
              </p:cNvPr>
              <p:cNvSpPr/>
              <p:nvPr/>
            </p:nvSpPr>
            <p:spPr>
              <a:xfrm>
                <a:off x="7040258" y="3039498"/>
                <a:ext cx="3881742" cy="461175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2" rtlCol="0" anchor="ctr"/>
              <a:lstStyle/>
              <a:p>
                <a:pPr marL="285750" indent="-285750">
                  <a:spcAft>
                    <a:spcPts val="100"/>
                  </a:spcAft>
                  <a:buFont typeface="Arial" panose="020B0604020202020204" pitchFamily="34" charset="0"/>
                  <a:buChar char="•"/>
                </a:pPr>
                <a:r>
                  <a:rPr lang="en-US" sz="1400" b="1" kern="0" dirty="0">
                    <a:solidFill>
                      <a:schemeClr val="tx1"/>
                    </a:solidFill>
                  </a:rPr>
                  <a:t>+160MW in DC</a:t>
                </a:r>
              </a:p>
              <a:p>
                <a:pPr marL="285750" indent="-285750">
                  <a:spcAft>
                    <a:spcPts val="100"/>
                  </a:spcAft>
                  <a:buFont typeface="Arial" panose="020B0604020202020204" pitchFamily="34" charset="0"/>
                  <a:buChar char="•"/>
                </a:pPr>
                <a:r>
                  <a:rPr lang="en-US" sz="1400" b="1" kern="0" dirty="0">
                    <a:solidFill>
                      <a:schemeClr val="tx1"/>
                    </a:solidFill>
                  </a:rPr>
                  <a:t>20 CDNs, CDP, SP</a:t>
                </a: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7A5ECC6-3247-48C6-9749-2669C0F4C392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D7E41F3-6371-4481-89A3-82628405FC85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123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B55BA3B-7303-48AF-91AB-20F1B039D322}"/>
              </a:ext>
            </a:extLst>
          </p:cNvPr>
          <p:cNvSpPr txBox="1"/>
          <p:nvPr/>
        </p:nvSpPr>
        <p:spPr>
          <a:xfrm>
            <a:off x="1550591" y="2863674"/>
            <a:ext cx="65802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>
              <a:lnSpc>
                <a:spcPct val="90000"/>
              </a:lnSpc>
              <a:spcBef>
                <a:spcPts val="100"/>
              </a:spcBef>
              <a:tabLst>
                <a:tab pos="299720" algn="l"/>
              </a:tabLst>
              <a:defRPr/>
            </a:pPr>
            <a:r>
              <a:rPr lang="en-US" sz="6000" spc="-10" dirty="0">
                <a:solidFill>
                  <a:schemeClr val="bg1"/>
                </a:solidFill>
                <a:latin typeface="Calibri"/>
                <a:ea typeface="+mj-ea"/>
                <a:cs typeface="Calibri"/>
              </a:rPr>
              <a:t>SAIX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5869E2-3FE5-8CEB-3658-7B7FA3E20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DF12F5-A6B7-0E67-AEEE-ECBB8A1C7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1A1DB6F6-4DD6-468B-9576-226DE26B8661}"/>
              </a:ext>
            </a:extLst>
          </p:cNvPr>
          <p:cNvSpPr/>
          <p:nvPr/>
        </p:nvSpPr>
        <p:spPr>
          <a:xfrm>
            <a:off x="0" y="4107051"/>
            <a:ext cx="9639946" cy="1673817"/>
          </a:xfrm>
          <a:prstGeom prst="rect">
            <a:avLst/>
          </a:prstGeom>
          <a:solidFill>
            <a:srgbClr val="185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90000"/>
              </a:lnSpc>
              <a:spcBef>
                <a:spcPts val="100"/>
              </a:spcBef>
              <a:tabLst>
                <a:tab pos="299720" algn="l"/>
              </a:tabLst>
              <a:defRPr/>
            </a:pPr>
            <a:r>
              <a:rPr lang="en-US" sz="6600" spc="-10" dirty="0">
                <a:solidFill>
                  <a:schemeClr val="bg1"/>
                </a:solidFill>
                <a:cs typeface="Calibri"/>
              </a:rPr>
              <a:t>Thank You!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43E1D5-C983-4AF2-8EA4-15F108163F59}"/>
              </a:ext>
            </a:extLst>
          </p:cNvPr>
          <p:cNvSpPr/>
          <p:nvPr/>
        </p:nvSpPr>
        <p:spPr>
          <a:xfrm>
            <a:off x="9841424" y="4107050"/>
            <a:ext cx="2350576" cy="1673817"/>
          </a:xfrm>
          <a:prstGeom prst="rect">
            <a:avLst/>
          </a:prstGeom>
          <a:solidFill>
            <a:srgbClr val="1998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1175"/>
            <a:endParaRPr lang="en-US" sz="6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A8D5E25-E568-4538-98F3-17C65D3AF3D4}"/>
              </a:ext>
            </a:extLst>
          </p:cNvPr>
          <p:cNvGrpSpPr/>
          <p:nvPr/>
        </p:nvGrpSpPr>
        <p:grpSpPr>
          <a:xfrm>
            <a:off x="6224800" y="-86622"/>
            <a:ext cx="6010060" cy="7026997"/>
            <a:chOff x="816464" y="1578757"/>
            <a:chExt cx="6010060" cy="7026997"/>
          </a:xfrm>
          <a:solidFill>
            <a:srgbClr val="606060"/>
          </a:solidFill>
          <a:effectLst/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7FD5354-AFE1-44A1-90F0-6AD97EA1460A}"/>
                </a:ext>
              </a:extLst>
            </p:cNvPr>
            <p:cNvGrpSpPr/>
            <p:nvPr/>
          </p:nvGrpSpPr>
          <p:grpSpPr>
            <a:xfrm>
              <a:off x="1110603" y="1578757"/>
              <a:ext cx="5715921" cy="7026997"/>
              <a:chOff x="6266581" y="2948793"/>
              <a:chExt cx="575387" cy="707365"/>
            </a:xfrm>
            <a:grpFill/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BC03C50F-254F-451C-8531-E19AD0CE58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47673" y="2948793"/>
                <a:ext cx="446314" cy="707365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20BC404C-7989-4B06-97D3-7909A82E420D}"/>
                  </a:ext>
                </a:extLst>
              </p:cNvPr>
              <p:cNvCxnSpPr/>
              <p:nvPr/>
            </p:nvCxnSpPr>
            <p:spPr>
              <a:xfrm flipH="1">
                <a:off x="6362700" y="2955986"/>
                <a:ext cx="92043" cy="425389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AF4EA65-A2BA-4A0C-8D4C-739A588B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6581" y="3153663"/>
                <a:ext cx="571073" cy="257698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3372C86B-E11F-4B0E-B542-F7408F7A3F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510338" y="3138700"/>
                <a:ext cx="247539" cy="47365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E97D14F-9EDC-497E-9D06-3B843732AA2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07956" y="3327487"/>
                <a:ext cx="334012" cy="287251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6403B24-248B-466A-B847-B094EFEC185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398894" y="3130397"/>
                <a:ext cx="443074" cy="8520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A85F04F-1B33-4CB6-8810-FF0F88A1DA55}"/>
                </a:ext>
              </a:extLst>
            </p:cNvPr>
            <p:cNvGrpSpPr/>
            <p:nvPr/>
          </p:nvGrpSpPr>
          <p:grpSpPr>
            <a:xfrm>
              <a:off x="816464" y="1785380"/>
              <a:ext cx="5412346" cy="6520420"/>
              <a:chOff x="6236972" y="2969593"/>
              <a:chExt cx="544828" cy="656371"/>
            </a:xfrm>
            <a:grpFill/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F50F7111-D61E-4DCC-85C2-A9FCD8B78926}"/>
                  </a:ext>
                </a:extLst>
              </p:cNvPr>
              <p:cNvSpPr/>
              <p:nvPr/>
            </p:nvSpPr>
            <p:spPr>
              <a:xfrm>
                <a:off x="6405562" y="305157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BD15B17-98A6-4573-B581-C5C4C6D100CB}"/>
                  </a:ext>
                </a:extLst>
              </p:cNvPr>
              <p:cNvSpPr/>
              <p:nvPr/>
            </p:nvSpPr>
            <p:spPr>
              <a:xfrm>
                <a:off x="6336441" y="3342283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81ABFDD-BDDE-41D0-AF84-7444BE7783B1}"/>
                  </a:ext>
                </a:extLst>
              </p:cNvPr>
              <p:cNvSpPr/>
              <p:nvPr/>
            </p:nvSpPr>
            <p:spPr>
              <a:xfrm>
                <a:off x="6540103" y="325874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1D7BD66A-2ED0-42A9-9802-E906418922DD}"/>
                  </a:ext>
                </a:extLst>
              </p:cNvPr>
              <p:cNvSpPr/>
              <p:nvPr/>
            </p:nvSpPr>
            <p:spPr>
              <a:xfrm>
                <a:off x="6727031" y="3124880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C30CD0E6-4F98-47CA-A056-BB62B3BEAA47}"/>
                  </a:ext>
                </a:extLst>
              </p:cNvPr>
              <p:cNvSpPr/>
              <p:nvPr/>
            </p:nvSpPr>
            <p:spPr>
              <a:xfrm>
                <a:off x="6380321" y="3196351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26161CE-0448-4039-A3A5-0B32E77DC47B}"/>
                  </a:ext>
                </a:extLst>
              </p:cNvPr>
              <p:cNvSpPr/>
              <p:nvPr/>
            </p:nvSpPr>
            <p:spPr>
              <a:xfrm>
                <a:off x="6658928" y="3449449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8743ECA-8891-4680-B3F9-AAC7D1C457F2}"/>
                  </a:ext>
                </a:extLst>
              </p:cNvPr>
              <p:cNvSpPr/>
              <p:nvPr/>
            </p:nvSpPr>
            <p:spPr>
              <a:xfrm>
                <a:off x="6492477" y="3571195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89F82E9-4E56-4557-BD54-1A6A19167453}"/>
                  </a:ext>
                </a:extLst>
              </p:cNvPr>
              <p:cNvSpPr/>
              <p:nvPr/>
            </p:nvSpPr>
            <p:spPr>
              <a:xfrm>
                <a:off x="6236972" y="3129472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EC3DACF-6D4E-47B2-8550-7F8F0576A435}"/>
                  </a:ext>
                </a:extLst>
              </p:cNvPr>
              <p:cNvSpPr/>
              <p:nvPr/>
            </p:nvSpPr>
            <p:spPr>
              <a:xfrm>
                <a:off x="6353175" y="2969593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0538B9B-1BE8-440D-8ACF-B20ACCE566E6}"/>
              </a:ext>
            </a:extLst>
          </p:cNvPr>
          <p:cNvSpPr/>
          <p:nvPr/>
        </p:nvSpPr>
        <p:spPr>
          <a:xfrm>
            <a:off x="384785" y="667171"/>
            <a:ext cx="3625170" cy="286439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4"/>
              </a:rPr>
              <a:t>support@saix.sa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aix.sa </a:t>
            </a:r>
            <a:endParaRPr lang="ar-SA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r-SA" dirty="0" err="1">
                <a:solidFill>
                  <a:schemeClr val="tx1"/>
                </a:solidFill>
              </a:rPr>
              <a:t>المقسم.السعودية</a:t>
            </a:r>
            <a:endParaRPr lang="ar-SA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3F2009-9754-40CE-B076-CBFBA1D24EA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387" y="1668327"/>
            <a:ext cx="1791107" cy="179110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5FBB2C0E-39D2-46F0-B87B-1AF7D30563F0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158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334EE6-C1EE-3CB3-B019-5501566E4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005841-5E0A-4D28-4679-D10BDEC6DF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309F0AA-8D91-4333-9E41-1E9403BE4378}"/>
              </a:ext>
            </a:extLst>
          </p:cNvPr>
          <p:cNvCxnSpPr>
            <a:cxnSpLocks/>
          </p:cNvCxnSpPr>
          <p:nvPr/>
        </p:nvCxnSpPr>
        <p:spPr>
          <a:xfrm>
            <a:off x="3027680" y="3409531"/>
            <a:ext cx="832453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46C122F-F4FE-4054-A320-211FA97B4A2E}"/>
              </a:ext>
            </a:extLst>
          </p:cNvPr>
          <p:cNvCxnSpPr>
            <a:cxnSpLocks/>
          </p:cNvCxnSpPr>
          <p:nvPr/>
        </p:nvCxnSpPr>
        <p:spPr>
          <a:xfrm>
            <a:off x="2790533" y="5431357"/>
            <a:ext cx="882999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Minus Sign 26">
            <a:extLst>
              <a:ext uri="{FF2B5EF4-FFF2-40B4-BE49-F238E27FC236}">
                <a16:creationId xmlns:a16="http://schemas.microsoft.com/office/drawing/2014/main" id="{782C485C-11EC-456A-9287-6C47A9CF56B4}"/>
              </a:ext>
            </a:extLst>
          </p:cNvPr>
          <p:cNvSpPr/>
          <p:nvPr/>
        </p:nvSpPr>
        <p:spPr>
          <a:xfrm>
            <a:off x="-2282270" y="921703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FE3DA40-3180-4604-B4B2-0D70C8CD8E12}"/>
              </a:ext>
            </a:extLst>
          </p:cNvPr>
          <p:cNvGrpSpPr/>
          <p:nvPr/>
        </p:nvGrpSpPr>
        <p:grpSpPr>
          <a:xfrm>
            <a:off x="0" y="2895096"/>
            <a:ext cx="758080" cy="743011"/>
            <a:chOff x="6669672" y="3329964"/>
            <a:chExt cx="1020378" cy="1280011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0D937A82-E44E-4548-B460-0A65221985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120" t="1926" r="62016" b="20675"/>
            <a:stretch/>
          </p:blipFill>
          <p:spPr>
            <a:xfrm>
              <a:off x="6669672" y="3329964"/>
              <a:ext cx="912346" cy="1082419"/>
            </a:xfrm>
            <a:prstGeom prst="ellipse">
              <a:avLst/>
            </a:prstGeom>
            <a:ln>
              <a:noFill/>
            </a:ln>
            <a:effectLst/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A5DBAF4-18A3-4936-9A86-4D024311C0C5}"/>
                </a:ext>
              </a:extLst>
            </p:cNvPr>
            <p:cNvSpPr txBox="1"/>
            <p:nvPr/>
          </p:nvSpPr>
          <p:spPr>
            <a:xfrm>
              <a:off x="6669672" y="4206399"/>
              <a:ext cx="1020378" cy="403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endParaRPr lang="en-US" sz="10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AD6E54B8-6F36-40FB-89BF-2CA4D7DFC83F}"/>
              </a:ext>
            </a:extLst>
          </p:cNvPr>
          <p:cNvSpPr/>
          <p:nvPr/>
        </p:nvSpPr>
        <p:spPr>
          <a:xfrm>
            <a:off x="0" y="2797303"/>
            <a:ext cx="3179133" cy="840813"/>
          </a:xfrm>
          <a:prstGeom prst="homePlate">
            <a:avLst>
              <a:gd name="adj" fmla="val 103524"/>
            </a:avLst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   Agenda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5C5DF80-1A79-4C4C-A342-FCDEF487EE3A}"/>
              </a:ext>
            </a:extLst>
          </p:cNvPr>
          <p:cNvSpPr/>
          <p:nvPr/>
        </p:nvSpPr>
        <p:spPr>
          <a:xfrm>
            <a:off x="988704" y="3738053"/>
            <a:ext cx="74552" cy="3118544"/>
          </a:xfrm>
          <a:prstGeom prst="rect">
            <a:avLst/>
          </a:prstGeom>
          <a:solidFill>
            <a:srgbClr val="21A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C9C4547-4FBF-472F-935D-8B074D7DC9D7}"/>
              </a:ext>
            </a:extLst>
          </p:cNvPr>
          <p:cNvSpPr/>
          <p:nvPr/>
        </p:nvSpPr>
        <p:spPr>
          <a:xfrm flipH="1">
            <a:off x="1836644" y="1158979"/>
            <a:ext cx="71639" cy="1476850"/>
          </a:xfrm>
          <a:prstGeom prst="rect">
            <a:avLst/>
          </a:prstGeom>
          <a:solidFill>
            <a:srgbClr val="21A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F40FE2C-3719-4187-8985-E5E2D5B37133}"/>
              </a:ext>
            </a:extLst>
          </p:cNvPr>
          <p:cNvSpPr/>
          <p:nvPr/>
        </p:nvSpPr>
        <p:spPr>
          <a:xfrm>
            <a:off x="3411971" y="1663573"/>
            <a:ext cx="745831" cy="685401"/>
          </a:xfrm>
          <a:prstGeom prst="ellipse">
            <a:avLst/>
          </a:prstGeom>
          <a:solidFill>
            <a:srgbClr val="B3C8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01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BFFE19F-2E1E-4426-BD73-932CA908E137}"/>
              </a:ext>
            </a:extLst>
          </p:cNvPr>
          <p:cNvCxnSpPr>
            <a:cxnSpLocks/>
          </p:cNvCxnSpPr>
          <p:nvPr/>
        </p:nvCxnSpPr>
        <p:spPr>
          <a:xfrm>
            <a:off x="4175372" y="2006273"/>
            <a:ext cx="109728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156C3148-2A55-4C74-B4B7-7338FBB93CD1}"/>
              </a:ext>
            </a:extLst>
          </p:cNvPr>
          <p:cNvSpPr/>
          <p:nvPr/>
        </p:nvSpPr>
        <p:spPr>
          <a:xfrm>
            <a:off x="3404574" y="3513290"/>
            <a:ext cx="745831" cy="685401"/>
          </a:xfrm>
          <a:prstGeom prst="ellipse">
            <a:avLst/>
          </a:prstGeom>
          <a:solidFill>
            <a:srgbClr val="1A9B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0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ABB458A-53F9-4DC8-AF74-380D87381CD2}"/>
              </a:ext>
            </a:extLst>
          </p:cNvPr>
          <p:cNvCxnSpPr>
            <a:cxnSpLocks/>
          </p:cNvCxnSpPr>
          <p:nvPr/>
        </p:nvCxnSpPr>
        <p:spPr>
          <a:xfrm>
            <a:off x="4167975" y="3855990"/>
            <a:ext cx="109728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D760A466-8FCB-47C8-A0EC-22C2C90DCC49}"/>
              </a:ext>
            </a:extLst>
          </p:cNvPr>
          <p:cNvSpPr/>
          <p:nvPr/>
        </p:nvSpPr>
        <p:spPr>
          <a:xfrm>
            <a:off x="3404574" y="2552397"/>
            <a:ext cx="745831" cy="685401"/>
          </a:xfrm>
          <a:prstGeom prst="ellipse">
            <a:avLst/>
          </a:prstGeom>
          <a:solidFill>
            <a:srgbClr val="5D5D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02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18C3FFC-B4DE-4C62-994E-96D8E5DA20B5}"/>
              </a:ext>
            </a:extLst>
          </p:cNvPr>
          <p:cNvCxnSpPr>
            <a:cxnSpLocks/>
          </p:cNvCxnSpPr>
          <p:nvPr/>
        </p:nvCxnSpPr>
        <p:spPr>
          <a:xfrm>
            <a:off x="4167975" y="2895097"/>
            <a:ext cx="109728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D69B620F-F418-4841-AEC6-431728BED3E0}"/>
              </a:ext>
            </a:extLst>
          </p:cNvPr>
          <p:cNvSpPr/>
          <p:nvPr/>
        </p:nvSpPr>
        <p:spPr>
          <a:xfrm>
            <a:off x="3397759" y="4440792"/>
            <a:ext cx="745831" cy="685401"/>
          </a:xfrm>
          <a:prstGeom prst="ellipse">
            <a:avLst/>
          </a:prstGeom>
          <a:solidFill>
            <a:srgbClr val="1B60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04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1F0D566-BD0F-41C4-9F98-9D8E941BDD07}"/>
              </a:ext>
            </a:extLst>
          </p:cNvPr>
          <p:cNvCxnSpPr>
            <a:cxnSpLocks/>
          </p:cNvCxnSpPr>
          <p:nvPr/>
        </p:nvCxnSpPr>
        <p:spPr>
          <a:xfrm>
            <a:off x="4161160" y="4783492"/>
            <a:ext cx="109728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824EF06C-9F99-495F-8C75-AEDEEA92F850}"/>
              </a:ext>
            </a:extLst>
          </p:cNvPr>
          <p:cNvSpPr/>
          <p:nvPr/>
        </p:nvSpPr>
        <p:spPr>
          <a:xfrm>
            <a:off x="3404574" y="5422379"/>
            <a:ext cx="745831" cy="685401"/>
          </a:xfrm>
          <a:prstGeom prst="ellipse">
            <a:avLst/>
          </a:prstGeom>
          <a:solidFill>
            <a:srgbClr val="20A9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05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368B3B2-1651-4096-9FB0-2D19753970BD}"/>
              </a:ext>
            </a:extLst>
          </p:cNvPr>
          <p:cNvCxnSpPr>
            <a:cxnSpLocks/>
          </p:cNvCxnSpPr>
          <p:nvPr/>
        </p:nvCxnSpPr>
        <p:spPr>
          <a:xfrm>
            <a:off x="4167975" y="5765079"/>
            <a:ext cx="109728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9" name="Title 7">
            <a:extLst>
              <a:ext uri="{FF2B5EF4-FFF2-40B4-BE49-F238E27FC236}">
                <a16:creationId xmlns:a16="http://schemas.microsoft.com/office/drawing/2014/main" id="{C586C71A-1602-455C-B1C9-13B0497AC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332" y="1687548"/>
            <a:ext cx="4138863" cy="646331"/>
          </a:xfrm>
        </p:spPr>
        <p:txBody>
          <a:bodyPr>
            <a:noAutofit/>
          </a:bodyPr>
          <a:lstStyle/>
          <a:p>
            <a:r>
              <a:rPr lang="en-US" sz="2200" b="1" dirty="0">
                <a:solidFill>
                  <a:srgbClr val="000000"/>
                </a:solidFill>
              </a:rPr>
              <a:t>An overview of the ecosystem</a:t>
            </a:r>
          </a:p>
        </p:txBody>
      </p:sp>
      <p:sp>
        <p:nvSpPr>
          <p:cNvPr id="80" name="Title 7">
            <a:extLst>
              <a:ext uri="{FF2B5EF4-FFF2-40B4-BE49-F238E27FC236}">
                <a16:creationId xmlns:a16="http://schemas.microsoft.com/office/drawing/2014/main" id="{D31465EB-1B7F-425D-9070-2250C10B2AF7}"/>
              </a:ext>
            </a:extLst>
          </p:cNvPr>
          <p:cNvSpPr txBox="1">
            <a:spLocks/>
          </p:cNvSpPr>
          <p:nvPr/>
        </p:nvSpPr>
        <p:spPr>
          <a:xfrm>
            <a:off x="5348332" y="3638117"/>
            <a:ext cx="413886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75A8B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endParaRPr lang="en-US" sz="2200" b="1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499F62-FF94-4756-899C-BDD2A843B5D7}"/>
              </a:ext>
            </a:extLst>
          </p:cNvPr>
          <p:cNvCxnSpPr/>
          <p:nvPr/>
        </p:nvCxnSpPr>
        <p:spPr>
          <a:xfrm>
            <a:off x="9847580" y="1158979"/>
            <a:ext cx="0" cy="1638315"/>
          </a:xfrm>
          <a:prstGeom prst="line">
            <a:avLst/>
          </a:prstGeom>
          <a:ln>
            <a:solidFill>
              <a:srgbClr val="1B60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14FC95A-A96A-4917-B552-C4E0E98786FC}"/>
              </a:ext>
            </a:extLst>
          </p:cNvPr>
          <p:cNvCxnSpPr>
            <a:cxnSpLocks/>
          </p:cNvCxnSpPr>
          <p:nvPr/>
        </p:nvCxnSpPr>
        <p:spPr>
          <a:xfrm>
            <a:off x="10055860" y="1167646"/>
            <a:ext cx="0" cy="1941314"/>
          </a:xfrm>
          <a:prstGeom prst="line">
            <a:avLst/>
          </a:prstGeom>
          <a:ln>
            <a:solidFill>
              <a:srgbClr val="1A9B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9FFF94E-C541-499D-AF10-4877AEF167F0}"/>
              </a:ext>
            </a:extLst>
          </p:cNvPr>
          <p:cNvCxnSpPr>
            <a:cxnSpLocks/>
          </p:cNvCxnSpPr>
          <p:nvPr/>
        </p:nvCxnSpPr>
        <p:spPr>
          <a:xfrm>
            <a:off x="10259060" y="1158979"/>
            <a:ext cx="0" cy="2241885"/>
          </a:xfrm>
          <a:prstGeom prst="line">
            <a:avLst/>
          </a:prstGeom>
          <a:ln>
            <a:solidFill>
              <a:srgbClr val="B3C8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F7FECBC-36AA-41DD-970A-9A058409B04C}"/>
              </a:ext>
            </a:extLst>
          </p:cNvPr>
          <p:cNvCxnSpPr>
            <a:cxnSpLocks/>
          </p:cNvCxnSpPr>
          <p:nvPr/>
        </p:nvCxnSpPr>
        <p:spPr>
          <a:xfrm>
            <a:off x="10452100" y="1158979"/>
            <a:ext cx="0" cy="1838221"/>
          </a:xfrm>
          <a:prstGeom prst="line">
            <a:avLst/>
          </a:prstGeom>
          <a:ln>
            <a:solidFill>
              <a:srgbClr val="5D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149DA1C-3A61-4D1D-B289-EE0203D0CE97}"/>
              </a:ext>
            </a:extLst>
          </p:cNvPr>
          <p:cNvCxnSpPr>
            <a:cxnSpLocks/>
          </p:cNvCxnSpPr>
          <p:nvPr/>
        </p:nvCxnSpPr>
        <p:spPr>
          <a:xfrm>
            <a:off x="10665460" y="1167646"/>
            <a:ext cx="0" cy="1384751"/>
          </a:xfrm>
          <a:prstGeom prst="line">
            <a:avLst/>
          </a:prstGeom>
          <a:ln>
            <a:solidFill>
              <a:srgbClr val="20A9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9FC7B6E-9CF0-487D-AB47-A7EA13644A17}"/>
              </a:ext>
            </a:extLst>
          </p:cNvPr>
          <p:cNvCxnSpPr/>
          <p:nvPr/>
        </p:nvCxnSpPr>
        <p:spPr>
          <a:xfrm>
            <a:off x="10887855" y="1158979"/>
            <a:ext cx="0" cy="1638315"/>
          </a:xfrm>
          <a:prstGeom prst="line">
            <a:avLst/>
          </a:prstGeom>
          <a:ln>
            <a:solidFill>
              <a:srgbClr val="1B60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9F0A0EF-1158-4387-B99A-995552A66017}"/>
              </a:ext>
            </a:extLst>
          </p:cNvPr>
          <p:cNvCxnSpPr/>
          <p:nvPr/>
        </p:nvCxnSpPr>
        <p:spPr>
          <a:xfrm>
            <a:off x="11101215" y="1187115"/>
            <a:ext cx="0" cy="1638315"/>
          </a:xfrm>
          <a:prstGeom prst="line">
            <a:avLst/>
          </a:prstGeom>
          <a:ln>
            <a:solidFill>
              <a:srgbClr val="1B60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D7C31C4-FCD2-4DA1-8627-6B4E63E8BD20}"/>
              </a:ext>
            </a:extLst>
          </p:cNvPr>
          <p:cNvCxnSpPr>
            <a:cxnSpLocks/>
          </p:cNvCxnSpPr>
          <p:nvPr/>
        </p:nvCxnSpPr>
        <p:spPr>
          <a:xfrm>
            <a:off x="11352213" y="1158979"/>
            <a:ext cx="0" cy="2241885"/>
          </a:xfrm>
          <a:prstGeom prst="line">
            <a:avLst/>
          </a:prstGeom>
          <a:ln>
            <a:solidFill>
              <a:srgbClr val="B3C8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E7CA7EA7-54A7-4D24-93E5-50EE28B9F064}"/>
              </a:ext>
            </a:extLst>
          </p:cNvPr>
          <p:cNvCxnSpPr>
            <a:cxnSpLocks/>
          </p:cNvCxnSpPr>
          <p:nvPr/>
        </p:nvCxnSpPr>
        <p:spPr>
          <a:xfrm>
            <a:off x="11508740" y="1167646"/>
            <a:ext cx="0" cy="1384751"/>
          </a:xfrm>
          <a:prstGeom prst="line">
            <a:avLst/>
          </a:prstGeom>
          <a:ln>
            <a:solidFill>
              <a:srgbClr val="20A9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0119A610-72D3-4219-84BC-B6871D80DE2B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itle 7">
            <a:extLst>
              <a:ext uri="{FF2B5EF4-FFF2-40B4-BE49-F238E27FC236}">
                <a16:creationId xmlns:a16="http://schemas.microsoft.com/office/drawing/2014/main" id="{D37EA219-FC9E-4C63-9C7D-82846F51AF56}"/>
              </a:ext>
            </a:extLst>
          </p:cNvPr>
          <p:cNvSpPr txBox="1">
            <a:spLocks/>
          </p:cNvSpPr>
          <p:nvPr/>
        </p:nvSpPr>
        <p:spPr>
          <a:xfrm>
            <a:off x="5348332" y="2603521"/>
            <a:ext cx="413886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75A8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000000"/>
                </a:solidFill>
              </a:rPr>
              <a:t>SAIX Introduction</a:t>
            </a:r>
          </a:p>
        </p:txBody>
      </p:sp>
      <p:sp>
        <p:nvSpPr>
          <p:cNvPr id="53" name="Title 7">
            <a:extLst>
              <a:ext uri="{FF2B5EF4-FFF2-40B4-BE49-F238E27FC236}">
                <a16:creationId xmlns:a16="http://schemas.microsoft.com/office/drawing/2014/main" id="{2A448911-5D33-481E-90B1-C51D76D6CDE6}"/>
              </a:ext>
            </a:extLst>
          </p:cNvPr>
          <p:cNvSpPr txBox="1">
            <a:spLocks/>
          </p:cNvSpPr>
          <p:nvPr/>
        </p:nvSpPr>
        <p:spPr>
          <a:xfrm>
            <a:off x="5348332" y="3516271"/>
            <a:ext cx="413886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75A8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000000"/>
                </a:solidFill>
              </a:rPr>
              <a:t>Collaboration Models</a:t>
            </a:r>
          </a:p>
        </p:txBody>
      </p:sp>
      <p:sp>
        <p:nvSpPr>
          <p:cNvPr id="65" name="Title 7">
            <a:extLst>
              <a:ext uri="{FF2B5EF4-FFF2-40B4-BE49-F238E27FC236}">
                <a16:creationId xmlns:a16="http://schemas.microsoft.com/office/drawing/2014/main" id="{008B50AE-CB8B-4F0B-B36D-C65FC4AB9C37}"/>
              </a:ext>
            </a:extLst>
          </p:cNvPr>
          <p:cNvSpPr txBox="1">
            <a:spLocks/>
          </p:cNvSpPr>
          <p:nvPr/>
        </p:nvSpPr>
        <p:spPr>
          <a:xfrm>
            <a:off x="5348331" y="4482518"/>
            <a:ext cx="413886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75A8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000000"/>
                </a:solidFill>
              </a:rPr>
              <a:t>Summary of the journey </a:t>
            </a:r>
          </a:p>
        </p:txBody>
      </p:sp>
      <p:sp>
        <p:nvSpPr>
          <p:cNvPr id="66" name="Title 7">
            <a:extLst>
              <a:ext uri="{FF2B5EF4-FFF2-40B4-BE49-F238E27FC236}">
                <a16:creationId xmlns:a16="http://schemas.microsoft.com/office/drawing/2014/main" id="{A0BCAB2D-B02B-4EF3-A031-932CBF429F3D}"/>
              </a:ext>
            </a:extLst>
          </p:cNvPr>
          <p:cNvSpPr txBox="1">
            <a:spLocks/>
          </p:cNvSpPr>
          <p:nvPr/>
        </p:nvSpPr>
        <p:spPr>
          <a:xfrm>
            <a:off x="5348331" y="5422379"/>
            <a:ext cx="413886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75A8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000000"/>
                </a:solidFill>
              </a:rPr>
              <a:t>Key results 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8737792-7673-4A08-8EF4-BFF148685141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961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E0BC5-3E7B-4198-964F-218CC2844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384794-8DD5-473D-929A-9F174F1748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078" y="203498"/>
            <a:ext cx="1787363" cy="670626"/>
          </a:xfrm>
          <a:prstGeom prst="rect">
            <a:avLst/>
          </a:prstGeom>
        </p:spPr>
      </p:pic>
      <p:sp>
        <p:nvSpPr>
          <p:cNvPr id="65" name="Title 7">
            <a:extLst>
              <a:ext uri="{FF2B5EF4-FFF2-40B4-BE49-F238E27FC236}">
                <a16:creationId xmlns:a16="http://schemas.microsoft.com/office/drawing/2014/main" id="{2FE9664A-3AA2-403A-8266-F940AD3BC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54367"/>
            <a:ext cx="8922358" cy="646331"/>
          </a:xfrm>
        </p:spPr>
        <p:txBody>
          <a:bodyPr>
            <a:noAutofit/>
          </a:bodyPr>
          <a:lstStyle/>
          <a:p>
            <a:r>
              <a:rPr lang="en-US" sz="3600" b="1" dirty="0"/>
              <a:t>Digital Infrastructure Ecosystem components</a:t>
            </a:r>
          </a:p>
        </p:txBody>
      </p:sp>
      <p:sp>
        <p:nvSpPr>
          <p:cNvPr id="76" name="Minus Sign 75">
            <a:extLst>
              <a:ext uri="{FF2B5EF4-FFF2-40B4-BE49-F238E27FC236}">
                <a16:creationId xmlns:a16="http://schemas.microsoft.com/office/drawing/2014/main" id="{276CD4B3-5A56-4EB2-9F42-98E688E860F7}"/>
              </a:ext>
            </a:extLst>
          </p:cNvPr>
          <p:cNvSpPr/>
          <p:nvPr/>
        </p:nvSpPr>
        <p:spPr>
          <a:xfrm>
            <a:off x="-2194560" y="803309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7D79BC7-5953-4ECE-95C4-B5CFA96F7D22}"/>
              </a:ext>
            </a:extLst>
          </p:cNvPr>
          <p:cNvSpPr/>
          <p:nvPr/>
        </p:nvSpPr>
        <p:spPr>
          <a:xfrm>
            <a:off x="607274" y="1569751"/>
            <a:ext cx="2587667" cy="255327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lIns="182880" tIns="0" bIns="640080" rtlCol="0" anchor="ctr"/>
          <a:lstStyle/>
          <a:p>
            <a:pPr lvl="0" defTabSz="457200">
              <a:defRPr/>
            </a:pPr>
            <a:endParaRPr lang="en-US" kern="0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3143EC8-BD8F-4196-A75A-E9B473D82F5D}"/>
              </a:ext>
            </a:extLst>
          </p:cNvPr>
          <p:cNvSpPr>
            <a:spLocks/>
          </p:cNvSpPr>
          <p:nvPr/>
        </p:nvSpPr>
        <p:spPr>
          <a:xfrm>
            <a:off x="3333701" y="1566949"/>
            <a:ext cx="2587667" cy="2552294"/>
          </a:xfrm>
          <a:prstGeom prst="rect">
            <a:avLst/>
          </a:prstGeom>
          <a:solidFill>
            <a:srgbClr val="F2F2F2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object 10">
            <a:extLst>
              <a:ext uri="{FF2B5EF4-FFF2-40B4-BE49-F238E27FC236}">
                <a16:creationId xmlns:a16="http://schemas.microsoft.com/office/drawing/2014/main" id="{077C8E35-BA52-48BA-9BFF-6ADA4A145857}"/>
              </a:ext>
            </a:extLst>
          </p:cNvPr>
          <p:cNvSpPr txBox="1"/>
          <p:nvPr/>
        </p:nvSpPr>
        <p:spPr>
          <a:xfrm>
            <a:off x="1014176" y="1769603"/>
            <a:ext cx="2141118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 defTabSz="457200">
              <a:spcBef>
                <a:spcPts val="105"/>
              </a:spcBef>
            </a:pPr>
            <a:r>
              <a:rPr lang="en-US" sz="1400" b="1" dirty="0">
                <a:latin typeface="Calibri (Body)"/>
                <a:cs typeface="+mj-cs"/>
              </a:rPr>
              <a:t>International connectivity</a:t>
            </a:r>
            <a:endParaRPr sz="1400" b="1" dirty="0">
              <a:latin typeface="Calibri (Body)"/>
              <a:cs typeface="+mj-cs"/>
            </a:endParaRPr>
          </a:p>
        </p:txBody>
      </p:sp>
      <p:pic>
        <p:nvPicPr>
          <p:cNvPr id="88" name="object 14">
            <a:extLst>
              <a:ext uri="{FF2B5EF4-FFF2-40B4-BE49-F238E27FC236}">
                <a16:creationId xmlns:a16="http://schemas.microsoft.com/office/drawing/2014/main" id="{C2E03463-EA85-4551-83A0-981806CF6830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29550" y="3287387"/>
            <a:ext cx="1413795" cy="807892"/>
          </a:xfrm>
          <a:prstGeom prst="rect">
            <a:avLst/>
          </a:prstGeom>
        </p:spPr>
      </p:pic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BF617AF8-7919-42AE-84CA-15DF8EC22451}"/>
              </a:ext>
            </a:extLst>
          </p:cNvPr>
          <p:cNvSpPr/>
          <p:nvPr/>
        </p:nvSpPr>
        <p:spPr>
          <a:xfrm>
            <a:off x="607476" y="3563866"/>
            <a:ext cx="1003300" cy="382133"/>
          </a:xfrm>
          <a:custGeom>
            <a:avLst/>
            <a:gdLst>
              <a:gd name="connsiteX0" fmla="*/ 0 w 1003300"/>
              <a:gd name="connsiteY0" fmla="*/ 378460 h 382133"/>
              <a:gd name="connsiteX1" fmla="*/ 228600 w 1003300"/>
              <a:gd name="connsiteY1" fmla="*/ 365760 h 382133"/>
              <a:gd name="connsiteX2" fmla="*/ 736600 w 1003300"/>
              <a:gd name="connsiteY2" fmla="*/ 248920 h 382133"/>
              <a:gd name="connsiteX3" fmla="*/ 1003300 w 1003300"/>
              <a:gd name="connsiteY3" fmla="*/ 0 h 382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3300" h="382133">
                <a:moveTo>
                  <a:pt x="0" y="378460"/>
                </a:moveTo>
                <a:cubicBezTo>
                  <a:pt x="52916" y="382905"/>
                  <a:pt x="105833" y="387350"/>
                  <a:pt x="228600" y="365760"/>
                </a:cubicBezTo>
                <a:cubicBezTo>
                  <a:pt x="351367" y="344170"/>
                  <a:pt x="607483" y="309880"/>
                  <a:pt x="736600" y="248920"/>
                </a:cubicBezTo>
                <a:cubicBezTo>
                  <a:pt x="865717" y="187960"/>
                  <a:pt x="934508" y="93980"/>
                  <a:pt x="1003300" y="0"/>
                </a:cubicBezTo>
              </a:path>
            </a:pathLst>
          </a:cu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B8A56CA-1A98-4EA6-99FB-B7DF8F638832}"/>
              </a:ext>
            </a:extLst>
          </p:cNvPr>
          <p:cNvCxnSpPr>
            <a:cxnSpLocks/>
          </p:cNvCxnSpPr>
          <p:nvPr/>
        </p:nvCxnSpPr>
        <p:spPr>
          <a:xfrm flipV="1">
            <a:off x="1600457" y="3083316"/>
            <a:ext cx="33179" cy="497236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E4423CD-7A2E-4E6D-8673-3D27CAC49268}"/>
              </a:ext>
            </a:extLst>
          </p:cNvPr>
          <p:cNvCxnSpPr>
            <a:cxnSpLocks/>
          </p:cNvCxnSpPr>
          <p:nvPr/>
        </p:nvCxnSpPr>
        <p:spPr>
          <a:xfrm>
            <a:off x="1640703" y="3083316"/>
            <a:ext cx="394472" cy="0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DE07ED0E-23DF-48A6-A8E0-0920AF02C3A4}"/>
              </a:ext>
            </a:extLst>
          </p:cNvPr>
          <p:cNvSpPr/>
          <p:nvPr/>
        </p:nvSpPr>
        <p:spPr>
          <a:xfrm>
            <a:off x="1997626" y="3058318"/>
            <a:ext cx="45720" cy="45720"/>
          </a:xfrm>
          <a:prstGeom prst="ellipse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0047768-ADF7-4065-B779-7FB4C10ECAAD}"/>
              </a:ext>
            </a:extLst>
          </p:cNvPr>
          <p:cNvSpPr/>
          <p:nvPr/>
        </p:nvSpPr>
        <p:spPr>
          <a:xfrm>
            <a:off x="4489399" y="3097096"/>
            <a:ext cx="58434" cy="65266"/>
          </a:xfrm>
          <a:prstGeom prst="ellipse">
            <a:avLst/>
          </a:prstGeom>
          <a:solidFill>
            <a:srgbClr val="C3C3C3"/>
          </a:solidFill>
          <a:ln w="12700" cap="flat" cmpd="sng" algn="ctr">
            <a:solidFill>
              <a:srgbClr val="DDDDD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0F9BB26-336C-4D65-AA14-C85CA4A84434}"/>
              </a:ext>
            </a:extLst>
          </p:cNvPr>
          <p:cNvCxnSpPr>
            <a:cxnSpLocks/>
          </p:cNvCxnSpPr>
          <p:nvPr/>
        </p:nvCxnSpPr>
        <p:spPr>
          <a:xfrm flipV="1">
            <a:off x="4525470" y="3156254"/>
            <a:ext cx="0" cy="274320"/>
          </a:xfrm>
          <a:prstGeom prst="line">
            <a:avLst/>
          </a:prstGeom>
          <a:noFill/>
          <a:ln w="19050" cap="flat" cmpd="sng" algn="ctr">
            <a:solidFill>
              <a:srgbClr val="C2C2C2"/>
            </a:solidFill>
            <a:prstDash val="solid"/>
            <a:miter lim="800000"/>
          </a:ln>
          <a:effectLst/>
        </p:spPr>
      </p:cxnSp>
      <p:sp>
        <p:nvSpPr>
          <p:cNvPr id="95" name="object 24">
            <a:extLst>
              <a:ext uri="{FF2B5EF4-FFF2-40B4-BE49-F238E27FC236}">
                <a16:creationId xmlns:a16="http://schemas.microsoft.com/office/drawing/2014/main" id="{2F8FDDE4-C5CE-4D49-8AE1-84A85B829535}"/>
              </a:ext>
            </a:extLst>
          </p:cNvPr>
          <p:cNvSpPr txBox="1"/>
          <p:nvPr/>
        </p:nvSpPr>
        <p:spPr>
          <a:xfrm>
            <a:off x="1830539" y="3331934"/>
            <a:ext cx="981679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 defTabSz="457200">
              <a:spcBef>
                <a:spcPts val="105"/>
              </a:spcBef>
            </a:pPr>
            <a:r>
              <a:rPr lang="en-US" sz="1200" spc="-10" dirty="0">
                <a:cs typeface="Trebuchet MS"/>
              </a:rPr>
              <a:t>International landing stations</a:t>
            </a:r>
            <a:endParaRPr sz="1200" dirty="0">
              <a:cs typeface="Trebuchet MS"/>
            </a:endParaRPr>
          </a:p>
        </p:txBody>
      </p:sp>
      <p:sp>
        <p:nvSpPr>
          <p:cNvPr id="97" name="object 24">
            <a:extLst>
              <a:ext uri="{FF2B5EF4-FFF2-40B4-BE49-F238E27FC236}">
                <a16:creationId xmlns:a16="http://schemas.microsoft.com/office/drawing/2014/main" id="{33C31116-34CB-46C8-8E95-89632589C0A1}"/>
              </a:ext>
            </a:extLst>
          </p:cNvPr>
          <p:cNvSpPr txBox="1"/>
          <p:nvPr/>
        </p:nvSpPr>
        <p:spPr>
          <a:xfrm rot="20873010">
            <a:off x="666050" y="3323698"/>
            <a:ext cx="914339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defTabSz="457200">
              <a:spcBef>
                <a:spcPts val="105"/>
              </a:spcBef>
            </a:pPr>
            <a:r>
              <a:rPr lang="en-US" sz="1200" i="1" spc="-10" dirty="0">
                <a:cs typeface="Trebuchet MS"/>
              </a:rPr>
              <a:t>Submarine cable</a:t>
            </a:r>
            <a:endParaRPr sz="1200" i="1" dirty="0">
              <a:cs typeface="Trebuchet MS"/>
            </a:endParaRPr>
          </a:p>
        </p:txBody>
      </p:sp>
      <p:sp>
        <p:nvSpPr>
          <p:cNvPr id="100" name="object 25">
            <a:extLst>
              <a:ext uri="{FF2B5EF4-FFF2-40B4-BE49-F238E27FC236}">
                <a16:creationId xmlns:a16="http://schemas.microsoft.com/office/drawing/2014/main" id="{0FDE4C5D-794A-4736-9F12-61C2AAA23363}"/>
              </a:ext>
            </a:extLst>
          </p:cNvPr>
          <p:cNvSpPr txBox="1"/>
          <p:nvPr/>
        </p:nvSpPr>
        <p:spPr>
          <a:xfrm>
            <a:off x="3967497" y="1769603"/>
            <a:ext cx="1835899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defTabSz="457200">
              <a:spcBef>
                <a:spcPts val="100"/>
              </a:spcBef>
            </a:pPr>
            <a:r>
              <a:rPr lang="en-US" sz="1400" b="1" dirty="0">
                <a:cs typeface="Trebuchet MS"/>
              </a:rPr>
              <a:t>Data Center/ Hosting</a:t>
            </a:r>
            <a:endParaRPr sz="1400" b="1" dirty="0">
              <a:cs typeface="Trebuchet MS"/>
            </a:endParaRPr>
          </a:p>
        </p:txBody>
      </p:sp>
      <p:pic>
        <p:nvPicPr>
          <p:cNvPr id="101" name="ico-square-pin">
            <a:extLst>
              <a:ext uri="{FF2B5EF4-FFF2-40B4-BE49-F238E27FC236}">
                <a16:creationId xmlns:a16="http://schemas.microsoft.com/office/drawing/2014/main" id="{270D7BEE-A2E9-4422-87E7-58F9E6EF09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89822" y="1629902"/>
            <a:ext cx="478073" cy="497998"/>
          </a:xfrm>
          <a:prstGeom prst="rect">
            <a:avLst/>
          </a:prstGeom>
        </p:spPr>
      </p:pic>
      <p:sp>
        <p:nvSpPr>
          <p:cNvPr id="102" name="Rectangle 101">
            <a:extLst>
              <a:ext uri="{FF2B5EF4-FFF2-40B4-BE49-F238E27FC236}">
                <a16:creationId xmlns:a16="http://schemas.microsoft.com/office/drawing/2014/main" id="{7FFB5577-6E49-4D83-8697-78B1BDE53451}"/>
              </a:ext>
            </a:extLst>
          </p:cNvPr>
          <p:cNvSpPr>
            <a:spLocks/>
          </p:cNvSpPr>
          <p:nvPr/>
        </p:nvSpPr>
        <p:spPr>
          <a:xfrm>
            <a:off x="8922357" y="1569752"/>
            <a:ext cx="2587667" cy="2552294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object 25">
            <a:extLst>
              <a:ext uri="{FF2B5EF4-FFF2-40B4-BE49-F238E27FC236}">
                <a16:creationId xmlns:a16="http://schemas.microsoft.com/office/drawing/2014/main" id="{6AD29C41-6618-4234-85BC-F9E786403671}"/>
              </a:ext>
            </a:extLst>
          </p:cNvPr>
          <p:cNvSpPr txBox="1"/>
          <p:nvPr/>
        </p:nvSpPr>
        <p:spPr>
          <a:xfrm>
            <a:off x="9613249" y="1775336"/>
            <a:ext cx="1939745" cy="6719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 defTabSz="457200">
              <a:spcBef>
                <a:spcPts val="100"/>
              </a:spcBef>
            </a:pPr>
            <a:r>
              <a:rPr lang="en-US" sz="1400" b="1" dirty="0">
                <a:cs typeface="Trebuchet MS"/>
              </a:rPr>
              <a:t>National and access </a:t>
            </a:r>
            <a:r>
              <a:rPr lang="en-US" sz="1400" b="1" dirty="0">
                <a:latin typeface="Calibri (Body)"/>
                <a:cs typeface="+mj-cs"/>
              </a:rPr>
              <a:t>connectivity</a:t>
            </a:r>
          </a:p>
          <a:p>
            <a:pPr marL="12700" marR="5080" algn="ctr" defTabSz="457200">
              <a:spcBef>
                <a:spcPts val="100"/>
              </a:spcBef>
            </a:pPr>
            <a:r>
              <a:rPr lang="en-US" sz="1400" b="1" dirty="0">
                <a:latin typeface="Calibri (Body)"/>
                <a:cs typeface="+mj-cs"/>
              </a:rPr>
              <a:t>(Eyeballs)</a:t>
            </a:r>
            <a:endParaRPr sz="1400" b="1" dirty="0">
              <a:latin typeface="Calibri (Body)"/>
              <a:cs typeface="+mj-cs"/>
            </a:endParaRPr>
          </a:p>
        </p:txBody>
      </p:sp>
      <p:pic>
        <p:nvPicPr>
          <p:cNvPr id="104" name="ico-electronic-circuit">
            <a:extLst>
              <a:ext uri="{FF2B5EF4-FFF2-40B4-BE49-F238E27FC236}">
                <a16:creationId xmlns:a16="http://schemas.microsoft.com/office/drawing/2014/main" id="{CE8E891F-97EA-407A-82E3-AE4124C175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80646" y="1597623"/>
            <a:ext cx="502231" cy="523163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727E6A02-3C06-4F54-9AEA-715DD3064ACF}"/>
              </a:ext>
            </a:extLst>
          </p:cNvPr>
          <p:cNvGrpSpPr>
            <a:grpSpLocks noChangeAspect="1"/>
          </p:cNvGrpSpPr>
          <p:nvPr/>
        </p:nvGrpSpPr>
        <p:grpSpPr>
          <a:xfrm>
            <a:off x="10155126" y="3490328"/>
            <a:ext cx="471170" cy="471170"/>
            <a:chOff x="5273675" y="2606675"/>
            <a:chExt cx="1644650" cy="1644650"/>
          </a:xfrm>
        </p:grpSpPr>
        <p:sp>
          <p:nvSpPr>
            <p:cNvPr id="106" name="AutoShape 3">
              <a:extLst>
                <a:ext uri="{FF2B5EF4-FFF2-40B4-BE49-F238E27FC236}">
                  <a16:creationId xmlns:a16="http://schemas.microsoft.com/office/drawing/2014/main" id="{33951B87-22A4-4495-B6BB-73402D69B6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C54E4DD-5C80-4580-9A38-2751CABBB8E5}"/>
                </a:ext>
              </a:extLst>
            </p:cNvPr>
            <p:cNvGrpSpPr/>
            <p:nvPr/>
          </p:nvGrpSpPr>
          <p:grpSpPr>
            <a:xfrm>
              <a:off x="5445125" y="2725738"/>
              <a:ext cx="1303338" cy="1355725"/>
              <a:chOff x="5445125" y="2725738"/>
              <a:chExt cx="1303338" cy="1355725"/>
            </a:xfrm>
          </p:grpSpPr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E6F8C12D-510F-4345-BEDF-A79363999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613150"/>
                <a:ext cx="1303338" cy="468313"/>
              </a:xfrm>
              <a:custGeom>
                <a:avLst/>
                <a:gdLst>
                  <a:gd name="connsiteX0" fmla="*/ 15703 w 1303338"/>
                  <a:gd name="connsiteY0" fmla="*/ 434975 h 468313"/>
                  <a:gd name="connsiteX1" fmla="*/ 77087 w 1303338"/>
                  <a:gd name="connsiteY1" fmla="*/ 434975 h 468313"/>
                  <a:gd name="connsiteX2" fmla="*/ 92790 w 1303338"/>
                  <a:gd name="connsiteY2" fmla="*/ 434975 h 468313"/>
                  <a:gd name="connsiteX3" fmla="*/ 108493 w 1303338"/>
                  <a:gd name="connsiteY3" fmla="*/ 434975 h 468313"/>
                  <a:gd name="connsiteX4" fmla="*/ 182011 w 1303338"/>
                  <a:gd name="connsiteY4" fmla="*/ 434975 h 468313"/>
                  <a:gd name="connsiteX5" fmla="*/ 213416 w 1303338"/>
                  <a:gd name="connsiteY5" fmla="*/ 434975 h 468313"/>
                  <a:gd name="connsiteX6" fmla="*/ 214844 w 1303338"/>
                  <a:gd name="connsiteY6" fmla="*/ 434975 h 468313"/>
                  <a:gd name="connsiteX7" fmla="*/ 229119 w 1303338"/>
                  <a:gd name="connsiteY7" fmla="*/ 434975 h 468313"/>
                  <a:gd name="connsiteX8" fmla="*/ 230547 w 1303338"/>
                  <a:gd name="connsiteY8" fmla="*/ 434975 h 468313"/>
                  <a:gd name="connsiteX9" fmla="*/ 246964 w 1303338"/>
                  <a:gd name="connsiteY9" fmla="*/ 434975 h 468313"/>
                  <a:gd name="connsiteX10" fmla="*/ 352601 w 1303338"/>
                  <a:gd name="connsiteY10" fmla="*/ 434975 h 468313"/>
                  <a:gd name="connsiteX11" fmla="*/ 368304 w 1303338"/>
                  <a:gd name="connsiteY11" fmla="*/ 434975 h 468313"/>
                  <a:gd name="connsiteX12" fmla="*/ 398996 w 1303338"/>
                  <a:gd name="connsiteY12" fmla="*/ 434975 h 468313"/>
                  <a:gd name="connsiteX13" fmla="*/ 1066368 w 1303338"/>
                  <a:gd name="connsiteY13" fmla="*/ 434975 h 468313"/>
                  <a:gd name="connsiteX14" fmla="*/ 1097060 w 1303338"/>
                  <a:gd name="connsiteY14" fmla="*/ 434975 h 468313"/>
                  <a:gd name="connsiteX15" fmla="*/ 1112762 w 1303338"/>
                  <a:gd name="connsiteY15" fmla="*/ 434975 h 468313"/>
                  <a:gd name="connsiteX16" fmla="*/ 1236244 w 1303338"/>
                  <a:gd name="connsiteY16" fmla="*/ 434975 h 468313"/>
                  <a:gd name="connsiteX17" fmla="*/ 1251947 w 1303338"/>
                  <a:gd name="connsiteY17" fmla="*/ 434975 h 468313"/>
                  <a:gd name="connsiteX18" fmla="*/ 1283353 w 1303338"/>
                  <a:gd name="connsiteY18" fmla="*/ 434975 h 468313"/>
                  <a:gd name="connsiteX19" fmla="*/ 1287635 w 1303338"/>
                  <a:gd name="connsiteY19" fmla="*/ 434975 h 468313"/>
                  <a:gd name="connsiteX20" fmla="*/ 1303338 w 1303338"/>
                  <a:gd name="connsiteY20" fmla="*/ 452015 h 468313"/>
                  <a:gd name="connsiteX21" fmla="*/ 1287635 w 1303338"/>
                  <a:gd name="connsiteY21" fmla="*/ 468313 h 468313"/>
                  <a:gd name="connsiteX22" fmla="*/ 1271219 w 1303338"/>
                  <a:gd name="connsiteY22" fmla="*/ 468313 h 468313"/>
                  <a:gd name="connsiteX23" fmla="*/ 1078502 w 1303338"/>
                  <a:gd name="connsiteY23" fmla="*/ 468313 h 468313"/>
                  <a:gd name="connsiteX24" fmla="*/ 387576 w 1303338"/>
                  <a:gd name="connsiteY24" fmla="*/ 468313 h 468313"/>
                  <a:gd name="connsiteX25" fmla="*/ 229119 w 1303338"/>
                  <a:gd name="connsiteY25" fmla="*/ 468313 h 468313"/>
                  <a:gd name="connsiteX26" fmla="*/ 194145 w 1303338"/>
                  <a:gd name="connsiteY26" fmla="*/ 468313 h 468313"/>
                  <a:gd name="connsiteX27" fmla="*/ 92790 w 1303338"/>
                  <a:gd name="connsiteY27" fmla="*/ 468313 h 468313"/>
                  <a:gd name="connsiteX28" fmla="*/ 15703 w 1303338"/>
                  <a:gd name="connsiteY28" fmla="*/ 468313 h 468313"/>
                  <a:gd name="connsiteX29" fmla="*/ 0 w 1303338"/>
                  <a:gd name="connsiteY29" fmla="*/ 452015 h 468313"/>
                  <a:gd name="connsiteX30" fmla="*/ 15703 w 1303338"/>
                  <a:gd name="connsiteY30" fmla="*/ 434975 h 468313"/>
                  <a:gd name="connsiteX31" fmla="*/ 1004888 w 1303338"/>
                  <a:gd name="connsiteY31" fmla="*/ 92075 h 468313"/>
                  <a:gd name="connsiteX32" fmla="*/ 1004888 w 1303338"/>
                  <a:gd name="connsiteY32" fmla="*/ 152400 h 468313"/>
                  <a:gd name="connsiteX33" fmla="*/ 1004888 w 1303338"/>
                  <a:gd name="connsiteY33" fmla="*/ 168200 h 468313"/>
                  <a:gd name="connsiteX34" fmla="*/ 1004888 w 1303338"/>
                  <a:gd name="connsiteY34" fmla="*/ 183281 h 468313"/>
                  <a:gd name="connsiteX35" fmla="*/ 1004888 w 1303338"/>
                  <a:gd name="connsiteY35" fmla="*/ 212725 h 468313"/>
                  <a:gd name="connsiteX36" fmla="*/ 1087591 w 1303338"/>
                  <a:gd name="connsiteY36" fmla="*/ 212725 h 468313"/>
                  <a:gd name="connsiteX37" fmla="*/ 1119674 w 1303338"/>
                  <a:gd name="connsiteY37" fmla="*/ 212725 h 468313"/>
                  <a:gd name="connsiteX38" fmla="*/ 1122525 w 1303338"/>
                  <a:gd name="connsiteY38" fmla="*/ 183281 h 468313"/>
                  <a:gd name="connsiteX39" fmla="*/ 1123951 w 1303338"/>
                  <a:gd name="connsiteY39" fmla="*/ 168200 h 468313"/>
                  <a:gd name="connsiteX40" fmla="*/ 1123238 w 1303338"/>
                  <a:gd name="connsiteY40" fmla="*/ 168200 h 468313"/>
                  <a:gd name="connsiteX41" fmla="*/ 1103276 w 1303338"/>
                  <a:gd name="connsiteY41" fmla="*/ 152400 h 468313"/>
                  <a:gd name="connsiteX42" fmla="*/ 1094720 w 1303338"/>
                  <a:gd name="connsiteY42" fmla="*/ 145937 h 468313"/>
                  <a:gd name="connsiteX43" fmla="*/ 1004888 w 1303338"/>
                  <a:gd name="connsiteY43" fmla="*/ 92075 h 468313"/>
                  <a:gd name="connsiteX44" fmla="*/ 460375 w 1303338"/>
                  <a:gd name="connsiteY44" fmla="*/ 92075 h 468313"/>
                  <a:gd name="connsiteX45" fmla="*/ 372091 w 1303338"/>
                  <a:gd name="connsiteY45" fmla="*/ 145937 h 468313"/>
                  <a:gd name="connsiteX46" fmla="*/ 342900 w 1303338"/>
                  <a:gd name="connsiteY46" fmla="*/ 168200 h 468313"/>
                  <a:gd name="connsiteX47" fmla="*/ 347172 w 1303338"/>
                  <a:gd name="connsiteY47" fmla="*/ 212725 h 468313"/>
                  <a:gd name="connsiteX48" fmla="*/ 378499 w 1303338"/>
                  <a:gd name="connsiteY48" fmla="*/ 212725 h 468313"/>
                  <a:gd name="connsiteX49" fmla="*/ 460375 w 1303338"/>
                  <a:gd name="connsiteY49" fmla="*/ 212725 h 468313"/>
                  <a:gd name="connsiteX50" fmla="*/ 460375 w 1303338"/>
                  <a:gd name="connsiteY50" fmla="*/ 92075 h 468313"/>
                  <a:gd name="connsiteX51" fmla="*/ 876300 w 1303338"/>
                  <a:gd name="connsiteY51" fmla="*/ 49213 h 468313"/>
                  <a:gd name="connsiteX52" fmla="*/ 876300 w 1303338"/>
                  <a:gd name="connsiteY52" fmla="*/ 153008 h 468313"/>
                  <a:gd name="connsiteX53" fmla="*/ 876300 w 1303338"/>
                  <a:gd name="connsiteY53" fmla="*/ 168649 h 468313"/>
                  <a:gd name="connsiteX54" fmla="*/ 876300 w 1303338"/>
                  <a:gd name="connsiteY54" fmla="*/ 183578 h 468313"/>
                  <a:gd name="connsiteX55" fmla="*/ 876300 w 1303338"/>
                  <a:gd name="connsiteY55" fmla="*/ 212726 h 468313"/>
                  <a:gd name="connsiteX56" fmla="*/ 973138 w 1303338"/>
                  <a:gd name="connsiteY56" fmla="*/ 212726 h 468313"/>
                  <a:gd name="connsiteX57" fmla="*/ 973138 w 1303338"/>
                  <a:gd name="connsiteY57" fmla="*/ 183578 h 468313"/>
                  <a:gd name="connsiteX58" fmla="*/ 973138 w 1303338"/>
                  <a:gd name="connsiteY58" fmla="*/ 168649 h 468313"/>
                  <a:gd name="connsiteX59" fmla="*/ 973138 w 1303338"/>
                  <a:gd name="connsiteY59" fmla="*/ 153008 h 468313"/>
                  <a:gd name="connsiteX60" fmla="*/ 973138 w 1303338"/>
                  <a:gd name="connsiteY60" fmla="*/ 79783 h 468313"/>
                  <a:gd name="connsiteX61" fmla="*/ 876300 w 1303338"/>
                  <a:gd name="connsiteY61" fmla="*/ 49213 h 468313"/>
                  <a:gd name="connsiteX62" fmla="*/ 588963 w 1303338"/>
                  <a:gd name="connsiteY62" fmla="*/ 49213 h 468313"/>
                  <a:gd name="connsiteX63" fmla="*/ 492125 w 1303338"/>
                  <a:gd name="connsiteY63" fmla="*/ 79783 h 468313"/>
                  <a:gd name="connsiteX64" fmla="*/ 492125 w 1303338"/>
                  <a:gd name="connsiteY64" fmla="*/ 212726 h 468313"/>
                  <a:gd name="connsiteX65" fmla="*/ 588963 w 1303338"/>
                  <a:gd name="connsiteY65" fmla="*/ 212726 h 468313"/>
                  <a:gd name="connsiteX66" fmla="*/ 588963 w 1303338"/>
                  <a:gd name="connsiteY66" fmla="*/ 49213 h 468313"/>
                  <a:gd name="connsiteX67" fmla="*/ 749300 w 1303338"/>
                  <a:gd name="connsiteY67" fmla="*/ 31750 h 468313"/>
                  <a:gd name="connsiteX68" fmla="*/ 749300 w 1303338"/>
                  <a:gd name="connsiteY68" fmla="*/ 212725 h 468313"/>
                  <a:gd name="connsiteX69" fmla="*/ 844550 w 1303338"/>
                  <a:gd name="connsiteY69" fmla="*/ 212725 h 468313"/>
                  <a:gd name="connsiteX70" fmla="*/ 844550 w 1303338"/>
                  <a:gd name="connsiteY70" fmla="*/ 183513 h 468313"/>
                  <a:gd name="connsiteX71" fmla="*/ 844550 w 1303338"/>
                  <a:gd name="connsiteY71" fmla="*/ 168550 h 468313"/>
                  <a:gd name="connsiteX72" fmla="*/ 844550 w 1303338"/>
                  <a:gd name="connsiteY72" fmla="*/ 152875 h 468313"/>
                  <a:gd name="connsiteX73" fmla="*/ 844550 w 1303338"/>
                  <a:gd name="connsiteY73" fmla="*/ 41725 h 468313"/>
                  <a:gd name="connsiteX74" fmla="*/ 821267 w 1303338"/>
                  <a:gd name="connsiteY74" fmla="*/ 38163 h 468313"/>
                  <a:gd name="connsiteX75" fmla="*/ 806450 w 1303338"/>
                  <a:gd name="connsiteY75" fmla="*/ 36025 h 468313"/>
                  <a:gd name="connsiteX76" fmla="*/ 790928 w 1303338"/>
                  <a:gd name="connsiteY76" fmla="*/ 34600 h 468313"/>
                  <a:gd name="connsiteX77" fmla="*/ 749300 w 1303338"/>
                  <a:gd name="connsiteY77" fmla="*/ 31750 h 468313"/>
                  <a:gd name="connsiteX78" fmla="*/ 717551 w 1303338"/>
                  <a:gd name="connsiteY78" fmla="*/ 31750 h 468313"/>
                  <a:gd name="connsiteX79" fmla="*/ 620713 w 1303338"/>
                  <a:gd name="connsiteY79" fmla="*/ 41725 h 468313"/>
                  <a:gd name="connsiteX80" fmla="*/ 620713 w 1303338"/>
                  <a:gd name="connsiteY80" fmla="*/ 212725 h 468313"/>
                  <a:gd name="connsiteX81" fmla="*/ 717551 w 1303338"/>
                  <a:gd name="connsiteY81" fmla="*/ 212725 h 468313"/>
                  <a:gd name="connsiteX82" fmla="*/ 717551 w 1303338"/>
                  <a:gd name="connsiteY82" fmla="*/ 31750 h 468313"/>
                  <a:gd name="connsiteX83" fmla="*/ 733426 w 1303338"/>
                  <a:gd name="connsiteY83" fmla="*/ 0 h 468313"/>
                  <a:gd name="connsiteX84" fmla="*/ 791228 w 1303338"/>
                  <a:gd name="connsiteY84" fmla="*/ 2855 h 468313"/>
                  <a:gd name="connsiteX85" fmla="*/ 806927 w 1303338"/>
                  <a:gd name="connsiteY85" fmla="*/ 4282 h 468313"/>
                  <a:gd name="connsiteX86" fmla="*/ 821913 w 1303338"/>
                  <a:gd name="connsiteY86" fmla="*/ 5710 h 468313"/>
                  <a:gd name="connsiteX87" fmla="*/ 861161 w 1303338"/>
                  <a:gd name="connsiteY87" fmla="*/ 12846 h 468313"/>
                  <a:gd name="connsiteX88" fmla="*/ 915395 w 1303338"/>
                  <a:gd name="connsiteY88" fmla="*/ 25692 h 468313"/>
                  <a:gd name="connsiteX89" fmla="*/ 993892 w 1303338"/>
                  <a:gd name="connsiteY89" fmla="*/ 54239 h 468313"/>
                  <a:gd name="connsiteX90" fmla="*/ 998174 w 1303338"/>
                  <a:gd name="connsiteY90" fmla="*/ 55667 h 468313"/>
                  <a:gd name="connsiteX91" fmla="*/ 1098792 w 1303338"/>
                  <a:gd name="connsiteY91" fmla="*/ 110619 h 468313"/>
                  <a:gd name="connsiteX92" fmla="*/ 1128050 w 1303338"/>
                  <a:gd name="connsiteY92" fmla="*/ 131316 h 468313"/>
                  <a:gd name="connsiteX93" fmla="*/ 1131618 w 1303338"/>
                  <a:gd name="connsiteY93" fmla="*/ 94919 h 468313"/>
                  <a:gd name="connsiteX94" fmla="*/ 1132332 w 1303338"/>
                  <a:gd name="connsiteY94" fmla="*/ 89209 h 468313"/>
                  <a:gd name="connsiteX95" fmla="*/ 1148031 w 1303338"/>
                  <a:gd name="connsiteY95" fmla="*/ 74936 h 468313"/>
                  <a:gd name="connsiteX96" fmla="*/ 1185139 w 1303338"/>
                  <a:gd name="connsiteY96" fmla="*/ 74936 h 468313"/>
                  <a:gd name="connsiteX97" fmla="*/ 1200838 w 1303338"/>
                  <a:gd name="connsiteY97" fmla="*/ 74936 h 468313"/>
                  <a:gd name="connsiteX98" fmla="*/ 1202979 w 1303338"/>
                  <a:gd name="connsiteY98" fmla="*/ 74936 h 468313"/>
                  <a:gd name="connsiteX99" fmla="*/ 1215824 w 1303338"/>
                  <a:gd name="connsiteY99" fmla="*/ 83500 h 468313"/>
                  <a:gd name="connsiteX100" fmla="*/ 1217965 w 1303338"/>
                  <a:gd name="connsiteY100" fmla="*/ 89209 h 468313"/>
                  <a:gd name="connsiteX101" fmla="*/ 1249363 w 1303338"/>
                  <a:gd name="connsiteY101" fmla="*/ 403225 h 468313"/>
                  <a:gd name="connsiteX102" fmla="*/ 1232950 w 1303338"/>
                  <a:gd name="connsiteY102" fmla="*/ 403225 h 468313"/>
                  <a:gd name="connsiteX103" fmla="*/ 1217251 w 1303338"/>
                  <a:gd name="connsiteY103" fmla="*/ 403225 h 468313"/>
                  <a:gd name="connsiteX104" fmla="*/ 1132332 w 1303338"/>
                  <a:gd name="connsiteY104" fmla="*/ 403225 h 468313"/>
                  <a:gd name="connsiteX105" fmla="*/ 1116632 w 1303338"/>
                  <a:gd name="connsiteY105" fmla="*/ 403225 h 468313"/>
                  <a:gd name="connsiteX106" fmla="*/ 1100933 w 1303338"/>
                  <a:gd name="connsiteY106" fmla="*/ 403225 h 468313"/>
                  <a:gd name="connsiteX107" fmla="*/ 1113778 w 1303338"/>
                  <a:gd name="connsiteY107" fmla="*/ 275478 h 468313"/>
                  <a:gd name="connsiteX108" fmla="*/ 1116632 w 1303338"/>
                  <a:gd name="connsiteY108" fmla="*/ 244076 h 468313"/>
                  <a:gd name="connsiteX109" fmla="*/ 1085234 w 1303338"/>
                  <a:gd name="connsiteY109" fmla="*/ 244076 h 468313"/>
                  <a:gd name="connsiteX110" fmla="*/ 382331 w 1303338"/>
                  <a:gd name="connsiteY110" fmla="*/ 244076 h 468313"/>
                  <a:gd name="connsiteX111" fmla="*/ 350219 w 1303338"/>
                  <a:gd name="connsiteY111" fmla="*/ 244076 h 468313"/>
                  <a:gd name="connsiteX112" fmla="*/ 353787 w 1303338"/>
                  <a:gd name="connsiteY112" fmla="*/ 275478 h 468313"/>
                  <a:gd name="connsiteX113" fmla="*/ 366632 w 1303338"/>
                  <a:gd name="connsiteY113" fmla="*/ 403225 h 468313"/>
                  <a:gd name="connsiteX114" fmla="*/ 350219 w 1303338"/>
                  <a:gd name="connsiteY114" fmla="*/ 403225 h 468313"/>
                  <a:gd name="connsiteX115" fmla="*/ 334520 w 1303338"/>
                  <a:gd name="connsiteY115" fmla="*/ 403225 h 468313"/>
                  <a:gd name="connsiteX116" fmla="*/ 251741 w 1303338"/>
                  <a:gd name="connsiteY116" fmla="*/ 403225 h 468313"/>
                  <a:gd name="connsiteX117" fmla="*/ 248887 w 1303338"/>
                  <a:gd name="connsiteY117" fmla="*/ 403225 h 468313"/>
                  <a:gd name="connsiteX118" fmla="*/ 236042 w 1303338"/>
                  <a:gd name="connsiteY118" fmla="*/ 403225 h 468313"/>
                  <a:gd name="connsiteX119" fmla="*/ 233188 w 1303338"/>
                  <a:gd name="connsiteY119" fmla="*/ 403225 h 468313"/>
                  <a:gd name="connsiteX120" fmla="*/ 219629 w 1303338"/>
                  <a:gd name="connsiteY120" fmla="*/ 403225 h 468313"/>
                  <a:gd name="connsiteX121" fmla="*/ 217488 w 1303338"/>
                  <a:gd name="connsiteY121" fmla="*/ 403225 h 468313"/>
                  <a:gd name="connsiteX122" fmla="*/ 248887 w 1303338"/>
                  <a:gd name="connsiteY122" fmla="*/ 89209 h 468313"/>
                  <a:gd name="connsiteX123" fmla="*/ 264586 w 1303338"/>
                  <a:gd name="connsiteY123" fmla="*/ 74936 h 468313"/>
                  <a:gd name="connsiteX124" fmla="*/ 319534 w 1303338"/>
                  <a:gd name="connsiteY124" fmla="*/ 74936 h 468313"/>
                  <a:gd name="connsiteX125" fmla="*/ 333806 w 1303338"/>
                  <a:gd name="connsiteY125" fmla="*/ 84213 h 468313"/>
                  <a:gd name="connsiteX126" fmla="*/ 335233 w 1303338"/>
                  <a:gd name="connsiteY126" fmla="*/ 89209 h 468313"/>
                  <a:gd name="connsiteX127" fmla="*/ 335947 w 1303338"/>
                  <a:gd name="connsiteY127" fmla="*/ 94919 h 468313"/>
                  <a:gd name="connsiteX128" fmla="*/ 335947 w 1303338"/>
                  <a:gd name="connsiteY128" fmla="*/ 99914 h 468313"/>
                  <a:gd name="connsiteX129" fmla="*/ 338088 w 1303338"/>
                  <a:gd name="connsiteY129" fmla="*/ 116329 h 468313"/>
                  <a:gd name="connsiteX130" fmla="*/ 339515 w 1303338"/>
                  <a:gd name="connsiteY130" fmla="*/ 131316 h 468313"/>
                  <a:gd name="connsiteX131" fmla="*/ 368773 w 1303338"/>
                  <a:gd name="connsiteY131" fmla="*/ 110619 h 468313"/>
                  <a:gd name="connsiteX132" fmla="*/ 398744 w 1303338"/>
                  <a:gd name="connsiteY132" fmla="*/ 91350 h 468313"/>
                  <a:gd name="connsiteX133" fmla="*/ 467964 w 1303338"/>
                  <a:gd name="connsiteY133" fmla="*/ 55667 h 468313"/>
                  <a:gd name="connsiteX134" fmla="*/ 472959 w 1303338"/>
                  <a:gd name="connsiteY134" fmla="*/ 54239 h 468313"/>
                  <a:gd name="connsiteX135" fmla="*/ 579287 w 1303338"/>
                  <a:gd name="connsiteY135" fmla="*/ 18556 h 468313"/>
                  <a:gd name="connsiteX136" fmla="*/ 733426 w 1303338"/>
                  <a:gd name="connsiteY136" fmla="*/ 0 h 46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</a:cxnLst>
                <a:rect l="l" t="t" r="r" b="b"/>
                <a:pathLst>
                  <a:path w="1303338" h="468313">
                    <a:moveTo>
                      <a:pt x="15703" y="434975"/>
                    </a:moveTo>
                    <a:cubicBezTo>
                      <a:pt x="15703" y="434975"/>
                      <a:pt x="15703" y="434975"/>
                      <a:pt x="77087" y="434975"/>
                    </a:cubicBezTo>
                    <a:cubicBezTo>
                      <a:pt x="77087" y="434975"/>
                      <a:pt x="77087" y="434975"/>
                      <a:pt x="92790" y="434975"/>
                    </a:cubicBezTo>
                    <a:cubicBezTo>
                      <a:pt x="92790" y="434975"/>
                      <a:pt x="92790" y="434975"/>
                      <a:pt x="108493" y="434975"/>
                    </a:cubicBezTo>
                    <a:cubicBezTo>
                      <a:pt x="108493" y="434975"/>
                      <a:pt x="108493" y="434975"/>
                      <a:pt x="182011" y="434975"/>
                    </a:cubicBezTo>
                    <a:cubicBezTo>
                      <a:pt x="182011" y="434975"/>
                      <a:pt x="182011" y="434975"/>
                      <a:pt x="213416" y="434975"/>
                    </a:cubicBezTo>
                    <a:cubicBezTo>
                      <a:pt x="213416" y="434975"/>
                      <a:pt x="213416" y="434975"/>
                      <a:pt x="214844" y="434975"/>
                    </a:cubicBezTo>
                    <a:cubicBezTo>
                      <a:pt x="214844" y="434975"/>
                      <a:pt x="214844" y="434975"/>
                      <a:pt x="229119" y="434975"/>
                    </a:cubicBezTo>
                    <a:cubicBezTo>
                      <a:pt x="229119" y="434975"/>
                      <a:pt x="229119" y="434975"/>
                      <a:pt x="230547" y="434975"/>
                    </a:cubicBezTo>
                    <a:cubicBezTo>
                      <a:pt x="230547" y="434975"/>
                      <a:pt x="230547" y="434975"/>
                      <a:pt x="246964" y="434975"/>
                    </a:cubicBezTo>
                    <a:cubicBezTo>
                      <a:pt x="246964" y="434975"/>
                      <a:pt x="246964" y="434975"/>
                      <a:pt x="352601" y="434975"/>
                    </a:cubicBezTo>
                    <a:cubicBezTo>
                      <a:pt x="352601" y="434975"/>
                      <a:pt x="352601" y="434975"/>
                      <a:pt x="368304" y="434975"/>
                    </a:cubicBezTo>
                    <a:cubicBezTo>
                      <a:pt x="368304" y="434975"/>
                      <a:pt x="368304" y="434975"/>
                      <a:pt x="398996" y="434975"/>
                    </a:cubicBezTo>
                    <a:cubicBezTo>
                      <a:pt x="398996" y="434975"/>
                      <a:pt x="398996" y="434975"/>
                      <a:pt x="1066368" y="434975"/>
                    </a:cubicBezTo>
                    <a:cubicBezTo>
                      <a:pt x="1066368" y="434975"/>
                      <a:pt x="1066368" y="434975"/>
                      <a:pt x="1097060" y="434975"/>
                    </a:cubicBezTo>
                    <a:cubicBezTo>
                      <a:pt x="1097060" y="434975"/>
                      <a:pt x="1097060" y="434975"/>
                      <a:pt x="1112762" y="434975"/>
                    </a:cubicBezTo>
                    <a:cubicBezTo>
                      <a:pt x="1112762" y="434975"/>
                      <a:pt x="1112762" y="434975"/>
                      <a:pt x="1236244" y="434975"/>
                    </a:cubicBezTo>
                    <a:cubicBezTo>
                      <a:pt x="1236244" y="434975"/>
                      <a:pt x="1236244" y="434975"/>
                      <a:pt x="1251947" y="434975"/>
                    </a:cubicBezTo>
                    <a:cubicBezTo>
                      <a:pt x="1251947" y="434975"/>
                      <a:pt x="1251947" y="434975"/>
                      <a:pt x="1283353" y="434975"/>
                    </a:cubicBezTo>
                    <a:cubicBezTo>
                      <a:pt x="1283353" y="434975"/>
                      <a:pt x="1283353" y="434975"/>
                      <a:pt x="1287635" y="434975"/>
                    </a:cubicBezTo>
                    <a:cubicBezTo>
                      <a:pt x="1296201" y="434975"/>
                      <a:pt x="1303338" y="442384"/>
                      <a:pt x="1303338" y="452015"/>
                    </a:cubicBezTo>
                    <a:cubicBezTo>
                      <a:pt x="1303338" y="460905"/>
                      <a:pt x="1296201" y="468313"/>
                      <a:pt x="1287635" y="468313"/>
                    </a:cubicBezTo>
                    <a:cubicBezTo>
                      <a:pt x="1287635" y="468313"/>
                      <a:pt x="1287635" y="468313"/>
                      <a:pt x="1271219" y="468313"/>
                    </a:cubicBezTo>
                    <a:cubicBezTo>
                      <a:pt x="1271219" y="468313"/>
                      <a:pt x="1271219" y="468313"/>
                      <a:pt x="1078502" y="468313"/>
                    </a:cubicBezTo>
                    <a:cubicBezTo>
                      <a:pt x="1078502" y="468313"/>
                      <a:pt x="1078502" y="468313"/>
                      <a:pt x="387576" y="468313"/>
                    </a:cubicBezTo>
                    <a:cubicBezTo>
                      <a:pt x="387576" y="468313"/>
                      <a:pt x="387576" y="468313"/>
                      <a:pt x="229119" y="468313"/>
                    </a:cubicBezTo>
                    <a:cubicBezTo>
                      <a:pt x="229119" y="468313"/>
                      <a:pt x="229119" y="468313"/>
                      <a:pt x="194145" y="468313"/>
                    </a:cubicBezTo>
                    <a:cubicBezTo>
                      <a:pt x="194145" y="468313"/>
                      <a:pt x="194145" y="468313"/>
                      <a:pt x="92790" y="468313"/>
                    </a:cubicBezTo>
                    <a:cubicBezTo>
                      <a:pt x="92790" y="468313"/>
                      <a:pt x="92790" y="468313"/>
                      <a:pt x="15703" y="468313"/>
                    </a:cubicBezTo>
                    <a:cubicBezTo>
                      <a:pt x="7138" y="468313"/>
                      <a:pt x="0" y="460905"/>
                      <a:pt x="0" y="452015"/>
                    </a:cubicBezTo>
                    <a:cubicBezTo>
                      <a:pt x="0" y="442384"/>
                      <a:pt x="7138" y="434975"/>
                      <a:pt x="15703" y="434975"/>
                    </a:cubicBezTo>
                    <a:close/>
                    <a:moveTo>
                      <a:pt x="1004888" y="92075"/>
                    </a:moveTo>
                    <a:cubicBezTo>
                      <a:pt x="1004888" y="92075"/>
                      <a:pt x="1004888" y="92075"/>
                      <a:pt x="1004888" y="152400"/>
                    </a:cubicBezTo>
                    <a:cubicBezTo>
                      <a:pt x="1004888" y="152400"/>
                      <a:pt x="1004888" y="152400"/>
                      <a:pt x="1004888" y="168200"/>
                    </a:cubicBezTo>
                    <a:cubicBezTo>
                      <a:pt x="1004888" y="168200"/>
                      <a:pt x="1004888" y="168200"/>
                      <a:pt x="1004888" y="183281"/>
                    </a:cubicBezTo>
                    <a:cubicBezTo>
                      <a:pt x="1004888" y="183281"/>
                      <a:pt x="1004888" y="183281"/>
                      <a:pt x="1004888" y="212725"/>
                    </a:cubicBezTo>
                    <a:cubicBezTo>
                      <a:pt x="1004888" y="212725"/>
                      <a:pt x="1004888" y="212725"/>
                      <a:pt x="1087591" y="212725"/>
                    </a:cubicBezTo>
                    <a:cubicBezTo>
                      <a:pt x="1087591" y="212725"/>
                      <a:pt x="1087591" y="212725"/>
                      <a:pt x="1119674" y="212725"/>
                    </a:cubicBezTo>
                    <a:cubicBezTo>
                      <a:pt x="1119674" y="212725"/>
                      <a:pt x="1119674" y="212725"/>
                      <a:pt x="1122525" y="183281"/>
                    </a:cubicBezTo>
                    <a:cubicBezTo>
                      <a:pt x="1122525" y="183281"/>
                      <a:pt x="1122525" y="183281"/>
                      <a:pt x="1123951" y="168200"/>
                    </a:cubicBezTo>
                    <a:cubicBezTo>
                      <a:pt x="1123951" y="168200"/>
                      <a:pt x="1123951" y="168200"/>
                      <a:pt x="1123238" y="168200"/>
                    </a:cubicBezTo>
                    <a:cubicBezTo>
                      <a:pt x="1116822" y="162454"/>
                      <a:pt x="1109692" y="157427"/>
                      <a:pt x="1103276" y="152400"/>
                    </a:cubicBezTo>
                    <a:cubicBezTo>
                      <a:pt x="1100424" y="150246"/>
                      <a:pt x="1097572" y="148091"/>
                      <a:pt x="1094720" y="145937"/>
                    </a:cubicBezTo>
                    <a:cubicBezTo>
                      <a:pt x="1066202" y="125110"/>
                      <a:pt x="1036258" y="107875"/>
                      <a:pt x="1004888" y="92075"/>
                    </a:cubicBezTo>
                    <a:close/>
                    <a:moveTo>
                      <a:pt x="460375" y="92075"/>
                    </a:moveTo>
                    <a:cubicBezTo>
                      <a:pt x="429761" y="107875"/>
                      <a:pt x="400570" y="125110"/>
                      <a:pt x="372091" y="145937"/>
                    </a:cubicBezTo>
                    <a:cubicBezTo>
                      <a:pt x="362123" y="153118"/>
                      <a:pt x="352156" y="160300"/>
                      <a:pt x="342900" y="168200"/>
                    </a:cubicBezTo>
                    <a:cubicBezTo>
                      <a:pt x="342900" y="168200"/>
                      <a:pt x="342900" y="168200"/>
                      <a:pt x="347172" y="212725"/>
                    </a:cubicBezTo>
                    <a:cubicBezTo>
                      <a:pt x="347172" y="212725"/>
                      <a:pt x="347172" y="212725"/>
                      <a:pt x="378499" y="212725"/>
                    </a:cubicBezTo>
                    <a:cubicBezTo>
                      <a:pt x="378499" y="212725"/>
                      <a:pt x="378499" y="212725"/>
                      <a:pt x="460375" y="212725"/>
                    </a:cubicBezTo>
                    <a:cubicBezTo>
                      <a:pt x="460375" y="212725"/>
                      <a:pt x="460375" y="212725"/>
                      <a:pt x="460375" y="92075"/>
                    </a:cubicBezTo>
                    <a:close/>
                    <a:moveTo>
                      <a:pt x="876300" y="49213"/>
                    </a:moveTo>
                    <a:cubicBezTo>
                      <a:pt x="876300" y="49213"/>
                      <a:pt x="876300" y="49213"/>
                      <a:pt x="876300" y="153008"/>
                    </a:cubicBezTo>
                    <a:cubicBezTo>
                      <a:pt x="876300" y="153008"/>
                      <a:pt x="876300" y="153008"/>
                      <a:pt x="876300" y="168649"/>
                    </a:cubicBezTo>
                    <a:cubicBezTo>
                      <a:pt x="876300" y="168649"/>
                      <a:pt x="876300" y="168649"/>
                      <a:pt x="876300" y="183578"/>
                    </a:cubicBezTo>
                    <a:cubicBezTo>
                      <a:pt x="876300" y="183578"/>
                      <a:pt x="876300" y="183578"/>
                      <a:pt x="876300" y="212726"/>
                    </a:cubicBezTo>
                    <a:cubicBezTo>
                      <a:pt x="876300" y="212726"/>
                      <a:pt x="876300" y="212726"/>
                      <a:pt x="973138" y="212726"/>
                    </a:cubicBezTo>
                    <a:cubicBezTo>
                      <a:pt x="973138" y="212726"/>
                      <a:pt x="973138" y="212726"/>
                      <a:pt x="973138" y="183578"/>
                    </a:cubicBezTo>
                    <a:cubicBezTo>
                      <a:pt x="973138" y="183578"/>
                      <a:pt x="973138" y="183578"/>
                      <a:pt x="973138" y="168649"/>
                    </a:cubicBezTo>
                    <a:cubicBezTo>
                      <a:pt x="973138" y="168649"/>
                      <a:pt x="973138" y="168649"/>
                      <a:pt x="973138" y="153008"/>
                    </a:cubicBezTo>
                    <a:cubicBezTo>
                      <a:pt x="973138" y="153008"/>
                      <a:pt x="973138" y="153008"/>
                      <a:pt x="973138" y="79783"/>
                    </a:cubicBezTo>
                    <a:cubicBezTo>
                      <a:pt x="941808" y="66986"/>
                      <a:pt x="909766" y="56322"/>
                      <a:pt x="876300" y="49213"/>
                    </a:cubicBezTo>
                    <a:close/>
                    <a:moveTo>
                      <a:pt x="588963" y="49213"/>
                    </a:moveTo>
                    <a:cubicBezTo>
                      <a:pt x="556209" y="56322"/>
                      <a:pt x="523455" y="66986"/>
                      <a:pt x="492125" y="79783"/>
                    </a:cubicBezTo>
                    <a:cubicBezTo>
                      <a:pt x="492125" y="79783"/>
                      <a:pt x="492125" y="79783"/>
                      <a:pt x="492125" y="212726"/>
                    </a:cubicBezTo>
                    <a:cubicBezTo>
                      <a:pt x="492125" y="212726"/>
                      <a:pt x="492125" y="212726"/>
                      <a:pt x="588963" y="212726"/>
                    </a:cubicBezTo>
                    <a:cubicBezTo>
                      <a:pt x="588963" y="212726"/>
                      <a:pt x="588963" y="212726"/>
                      <a:pt x="588963" y="49213"/>
                    </a:cubicBezTo>
                    <a:close/>
                    <a:moveTo>
                      <a:pt x="749300" y="31750"/>
                    </a:moveTo>
                    <a:cubicBezTo>
                      <a:pt x="749300" y="31750"/>
                      <a:pt x="749300" y="31750"/>
                      <a:pt x="749300" y="212725"/>
                    </a:cubicBezTo>
                    <a:cubicBezTo>
                      <a:pt x="749300" y="212725"/>
                      <a:pt x="749300" y="212725"/>
                      <a:pt x="844550" y="212725"/>
                    </a:cubicBezTo>
                    <a:cubicBezTo>
                      <a:pt x="844550" y="212725"/>
                      <a:pt x="844550" y="212725"/>
                      <a:pt x="844550" y="183513"/>
                    </a:cubicBezTo>
                    <a:cubicBezTo>
                      <a:pt x="844550" y="183513"/>
                      <a:pt x="844550" y="183513"/>
                      <a:pt x="844550" y="168550"/>
                    </a:cubicBezTo>
                    <a:cubicBezTo>
                      <a:pt x="844550" y="168550"/>
                      <a:pt x="844550" y="168550"/>
                      <a:pt x="844550" y="152875"/>
                    </a:cubicBezTo>
                    <a:cubicBezTo>
                      <a:pt x="844550" y="152875"/>
                      <a:pt x="844550" y="152875"/>
                      <a:pt x="844550" y="41725"/>
                    </a:cubicBezTo>
                    <a:cubicBezTo>
                      <a:pt x="836789" y="40300"/>
                      <a:pt x="829028" y="38875"/>
                      <a:pt x="821267" y="38163"/>
                    </a:cubicBezTo>
                    <a:cubicBezTo>
                      <a:pt x="816328" y="37450"/>
                      <a:pt x="811389" y="36738"/>
                      <a:pt x="806450" y="36025"/>
                    </a:cubicBezTo>
                    <a:cubicBezTo>
                      <a:pt x="801511" y="35313"/>
                      <a:pt x="795867" y="34600"/>
                      <a:pt x="790928" y="34600"/>
                    </a:cubicBezTo>
                    <a:cubicBezTo>
                      <a:pt x="777522" y="33175"/>
                      <a:pt x="763411" y="32463"/>
                      <a:pt x="749300" y="31750"/>
                    </a:cubicBezTo>
                    <a:close/>
                    <a:moveTo>
                      <a:pt x="717551" y="31750"/>
                    </a:moveTo>
                    <a:cubicBezTo>
                      <a:pt x="684797" y="32463"/>
                      <a:pt x="652755" y="36025"/>
                      <a:pt x="620713" y="41725"/>
                    </a:cubicBezTo>
                    <a:cubicBezTo>
                      <a:pt x="620713" y="41725"/>
                      <a:pt x="620713" y="41725"/>
                      <a:pt x="620713" y="212725"/>
                    </a:cubicBezTo>
                    <a:cubicBezTo>
                      <a:pt x="620713" y="212725"/>
                      <a:pt x="620713" y="212725"/>
                      <a:pt x="717551" y="212725"/>
                    </a:cubicBezTo>
                    <a:cubicBezTo>
                      <a:pt x="717551" y="212725"/>
                      <a:pt x="717551" y="212725"/>
                      <a:pt x="717551" y="31750"/>
                    </a:cubicBezTo>
                    <a:close/>
                    <a:moveTo>
                      <a:pt x="733426" y="0"/>
                    </a:moveTo>
                    <a:cubicBezTo>
                      <a:pt x="752693" y="0"/>
                      <a:pt x="771960" y="714"/>
                      <a:pt x="791228" y="2855"/>
                    </a:cubicBezTo>
                    <a:cubicBezTo>
                      <a:pt x="796223" y="2855"/>
                      <a:pt x="801932" y="3568"/>
                      <a:pt x="806927" y="4282"/>
                    </a:cubicBezTo>
                    <a:cubicBezTo>
                      <a:pt x="811922" y="4996"/>
                      <a:pt x="816918" y="5710"/>
                      <a:pt x="821913" y="5710"/>
                    </a:cubicBezTo>
                    <a:cubicBezTo>
                      <a:pt x="834758" y="7851"/>
                      <a:pt x="848316" y="9992"/>
                      <a:pt x="861161" y="12846"/>
                    </a:cubicBezTo>
                    <a:cubicBezTo>
                      <a:pt x="879715" y="16415"/>
                      <a:pt x="897555" y="20697"/>
                      <a:pt x="915395" y="25692"/>
                    </a:cubicBezTo>
                    <a:cubicBezTo>
                      <a:pt x="941799" y="33543"/>
                      <a:pt x="968202" y="42820"/>
                      <a:pt x="993892" y="54239"/>
                    </a:cubicBezTo>
                    <a:cubicBezTo>
                      <a:pt x="995319" y="54239"/>
                      <a:pt x="996747" y="54953"/>
                      <a:pt x="998174" y="55667"/>
                    </a:cubicBezTo>
                    <a:cubicBezTo>
                      <a:pt x="1033140" y="70654"/>
                      <a:pt x="1066680" y="89209"/>
                      <a:pt x="1098792" y="110619"/>
                    </a:cubicBezTo>
                    <a:cubicBezTo>
                      <a:pt x="1108783" y="117042"/>
                      <a:pt x="1118060" y="124179"/>
                      <a:pt x="1128050" y="131316"/>
                    </a:cubicBezTo>
                    <a:cubicBezTo>
                      <a:pt x="1128050" y="131316"/>
                      <a:pt x="1128050" y="131316"/>
                      <a:pt x="1131618" y="94919"/>
                    </a:cubicBezTo>
                    <a:cubicBezTo>
                      <a:pt x="1131618" y="94919"/>
                      <a:pt x="1131618" y="94919"/>
                      <a:pt x="1132332" y="89209"/>
                    </a:cubicBezTo>
                    <a:cubicBezTo>
                      <a:pt x="1133045" y="81359"/>
                      <a:pt x="1139468" y="74936"/>
                      <a:pt x="1148031" y="74936"/>
                    </a:cubicBezTo>
                    <a:cubicBezTo>
                      <a:pt x="1148031" y="74936"/>
                      <a:pt x="1148031" y="74936"/>
                      <a:pt x="1185139" y="74936"/>
                    </a:cubicBezTo>
                    <a:cubicBezTo>
                      <a:pt x="1185139" y="74936"/>
                      <a:pt x="1185139" y="74936"/>
                      <a:pt x="1200838" y="74936"/>
                    </a:cubicBezTo>
                    <a:cubicBezTo>
                      <a:pt x="1200838" y="74936"/>
                      <a:pt x="1200838" y="74936"/>
                      <a:pt x="1202979" y="74936"/>
                    </a:cubicBezTo>
                    <a:cubicBezTo>
                      <a:pt x="1208688" y="74936"/>
                      <a:pt x="1213683" y="78504"/>
                      <a:pt x="1215824" y="83500"/>
                    </a:cubicBezTo>
                    <a:cubicBezTo>
                      <a:pt x="1217251" y="84927"/>
                      <a:pt x="1217965" y="87068"/>
                      <a:pt x="1217965" y="89209"/>
                    </a:cubicBezTo>
                    <a:cubicBezTo>
                      <a:pt x="1217965" y="89209"/>
                      <a:pt x="1217965" y="89209"/>
                      <a:pt x="1249363" y="403225"/>
                    </a:cubicBezTo>
                    <a:cubicBezTo>
                      <a:pt x="1249363" y="403225"/>
                      <a:pt x="1249363" y="403225"/>
                      <a:pt x="1232950" y="403225"/>
                    </a:cubicBezTo>
                    <a:cubicBezTo>
                      <a:pt x="1232950" y="403225"/>
                      <a:pt x="1232950" y="403225"/>
                      <a:pt x="1217251" y="403225"/>
                    </a:cubicBezTo>
                    <a:cubicBezTo>
                      <a:pt x="1217251" y="403225"/>
                      <a:pt x="1217251" y="403225"/>
                      <a:pt x="1132332" y="403225"/>
                    </a:cubicBezTo>
                    <a:cubicBezTo>
                      <a:pt x="1132332" y="403225"/>
                      <a:pt x="1132332" y="403225"/>
                      <a:pt x="1116632" y="403225"/>
                    </a:cubicBezTo>
                    <a:cubicBezTo>
                      <a:pt x="1116632" y="403225"/>
                      <a:pt x="1116632" y="403225"/>
                      <a:pt x="1100933" y="403225"/>
                    </a:cubicBezTo>
                    <a:cubicBezTo>
                      <a:pt x="1100933" y="403225"/>
                      <a:pt x="1100933" y="403225"/>
                      <a:pt x="1113778" y="275478"/>
                    </a:cubicBezTo>
                    <a:cubicBezTo>
                      <a:pt x="1113778" y="275478"/>
                      <a:pt x="1113778" y="275478"/>
                      <a:pt x="1116632" y="244076"/>
                    </a:cubicBezTo>
                    <a:cubicBezTo>
                      <a:pt x="1116632" y="244076"/>
                      <a:pt x="1116632" y="244076"/>
                      <a:pt x="1085234" y="244076"/>
                    </a:cubicBezTo>
                    <a:cubicBezTo>
                      <a:pt x="1085234" y="244076"/>
                      <a:pt x="1085234" y="244076"/>
                      <a:pt x="382331" y="244076"/>
                    </a:cubicBezTo>
                    <a:cubicBezTo>
                      <a:pt x="382331" y="244076"/>
                      <a:pt x="382331" y="244076"/>
                      <a:pt x="350219" y="244076"/>
                    </a:cubicBezTo>
                    <a:cubicBezTo>
                      <a:pt x="350219" y="244076"/>
                      <a:pt x="350219" y="244076"/>
                      <a:pt x="353787" y="275478"/>
                    </a:cubicBezTo>
                    <a:cubicBezTo>
                      <a:pt x="353787" y="275478"/>
                      <a:pt x="353787" y="275478"/>
                      <a:pt x="366632" y="403225"/>
                    </a:cubicBezTo>
                    <a:cubicBezTo>
                      <a:pt x="366632" y="403225"/>
                      <a:pt x="366632" y="403225"/>
                      <a:pt x="350219" y="403225"/>
                    </a:cubicBezTo>
                    <a:cubicBezTo>
                      <a:pt x="350219" y="403225"/>
                      <a:pt x="350219" y="403225"/>
                      <a:pt x="334520" y="403225"/>
                    </a:cubicBezTo>
                    <a:cubicBezTo>
                      <a:pt x="334520" y="403225"/>
                      <a:pt x="334520" y="403225"/>
                      <a:pt x="251741" y="403225"/>
                    </a:cubicBezTo>
                    <a:cubicBezTo>
                      <a:pt x="251741" y="403225"/>
                      <a:pt x="251741" y="403225"/>
                      <a:pt x="248887" y="403225"/>
                    </a:cubicBezTo>
                    <a:cubicBezTo>
                      <a:pt x="248887" y="403225"/>
                      <a:pt x="248887" y="403225"/>
                      <a:pt x="236042" y="403225"/>
                    </a:cubicBezTo>
                    <a:cubicBezTo>
                      <a:pt x="236042" y="403225"/>
                      <a:pt x="236042" y="403225"/>
                      <a:pt x="233188" y="403225"/>
                    </a:cubicBezTo>
                    <a:cubicBezTo>
                      <a:pt x="233188" y="403225"/>
                      <a:pt x="233188" y="403225"/>
                      <a:pt x="219629" y="403225"/>
                    </a:cubicBezTo>
                    <a:cubicBezTo>
                      <a:pt x="219629" y="403225"/>
                      <a:pt x="219629" y="403225"/>
                      <a:pt x="217488" y="403225"/>
                    </a:cubicBezTo>
                    <a:cubicBezTo>
                      <a:pt x="217488" y="403225"/>
                      <a:pt x="217488" y="403225"/>
                      <a:pt x="248887" y="89209"/>
                    </a:cubicBezTo>
                    <a:cubicBezTo>
                      <a:pt x="249601" y="81359"/>
                      <a:pt x="256023" y="74936"/>
                      <a:pt x="264586" y="74936"/>
                    </a:cubicBezTo>
                    <a:cubicBezTo>
                      <a:pt x="264586" y="74936"/>
                      <a:pt x="264586" y="74936"/>
                      <a:pt x="319534" y="74936"/>
                    </a:cubicBezTo>
                    <a:cubicBezTo>
                      <a:pt x="325956" y="74936"/>
                      <a:pt x="330952" y="78504"/>
                      <a:pt x="333806" y="84213"/>
                    </a:cubicBezTo>
                    <a:cubicBezTo>
                      <a:pt x="334520" y="85641"/>
                      <a:pt x="335233" y="87068"/>
                      <a:pt x="335233" y="89209"/>
                    </a:cubicBezTo>
                    <a:cubicBezTo>
                      <a:pt x="335233" y="89209"/>
                      <a:pt x="335233" y="89209"/>
                      <a:pt x="335947" y="94919"/>
                    </a:cubicBezTo>
                    <a:cubicBezTo>
                      <a:pt x="335947" y="94919"/>
                      <a:pt x="335947" y="94919"/>
                      <a:pt x="335947" y="99914"/>
                    </a:cubicBezTo>
                    <a:cubicBezTo>
                      <a:pt x="335947" y="99914"/>
                      <a:pt x="335947" y="99914"/>
                      <a:pt x="338088" y="116329"/>
                    </a:cubicBezTo>
                    <a:cubicBezTo>
                      <a:pt x="338088" y="116329"/>
                      <a:pt x="338088" y="116329"/>
                      <a:pt x="339515" y="131316"/>
                    </a:cubicBezTo>
                    <a:cubicBezTo>
                      <a:pt x="348792" y="124179"/>
                      <a:pt x="358782" y="117042"/>
                      <a:pt x="368773" y="110619"/>
                    </a:cubicBezTo>
                    <a:cubicBezTo>
                      <a:pt x="378763" y="103483"/>
                      <a:pt x="388754" y="97773"/>
                      <a:pt x="398744" y="91350"/>
                    </a:cubicBezTo>
                    <a:cubicBezTo>
                      <a:pt x="420866" y="77790"/>
                      <a:pt x="444415" y="66372"/>
                      <a:pt x="467964" y="55667"/>
                    </a:cubicBezTo>
                    <a:cubicBezTo>
                      <a:pt x="469391" y="54953"/>
                      <a:pt x="470819" y="54239"/>
                      <a:pt x="472959" y="54239"/>
                    </a:cubicBezTo>
                    <a:cubicBezTo>
                      <a:pt x="507212" y="39252"/>
                      <a:pt x="542893" y="27120"/>
                      <a:pt x="579287" y="18556"/>
                    </a:cubicBezTo>
                    <a:cubicBezTo>
                      <a:pt x="629239" y="6423"/>
                      <a:pt x="681332" y="0"/>
                      <a:pt x="733426" y="0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576FB816-4D92-4CE4-83E8-324B006C9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325" y="2725738"/>
                <a:ext cx="1139825" cy="1290638"/>
              </a:xfrm>
              <a:custGeom>
                <a:avLst/>
                <a:gdLst>
                  <a:gd name="connsiteX0" fmla="*/ 958086 w 1139825"/>
                  <a:gd name="connsiteY0" fmla="*/ 833437 h 1290638"/>
                  <a:gd name="connsiteX1" fmla="*/ 950913 w 1139825"/>
                  <a:gd name="connsiteY1" fmla="*/ 840524 h 1290638"/>
                  <a:gd name="connsiteX2" fmla="*/ 950913 w 1139825"/>
                  <a:gd name="connsiteY2" fmla="*/ 905725 h 1290638"/>
                  <a:gd name="connsiteX3" fmla="*/ 958086 w 1139825"/>
                  <a:gd name="connsiteY3" fmla="*/ 912812 h 1290638"/>
                  <a:gd name="connsiteX4" fmla="*/ 1062804 w 1139825"/>
                  <a:gd name="connsiteY4" fmla="*/ 912812 h 1290638"/>
                  <a:gd name="connsiteX5" fmla="*/ 1069976 w 1139825"/>
                  <a:gd name="connsiteY5" fmla="*/ 905725 h 1290638"/>
                  <a:gd name="connsiteX6" fmla="*/ 1069976 w 1139825"/>
                  <a:gd name="connsiteY6" fmla="*/ 840524 h 1290638"/>
                  <a:gd name="connsiteX7" fmla="*/ 1062804 w 1139825"/>
                  <a:gd name="connsiteY7" fmla="*/ 833437 h 1290638"/>
                  <a:gd name="connsiteX8" fmla="*/ 958086 w 1139825"/>
                  <a:gd name="connsiteY8" fmla="*/ 833437 h 1290638"/>
                  <a:gd name="connsiteX9" fmla="*/ 453345 w 1139825"/>
                  <a:gd name="connsiteY9" fmla="*/ 769937 h 1290638"/>
                  <a:gd name="connsiteX10" fmla="*/ 446088 w 1139825"/>
                  <a:gd name="connsiteY10" fmla="*/ 777024 h 1290638"/>
                  <a:gd name="connsiteX11" fmla="*/ 446088 w 1139825"/>
                  <a:gd name="connsiteY11" fmla="*/ 842225 h 1290638"/>
                  <a:gd name="connsiteX12" fmla="*/ 453345 w 1139825"/>
                  <a:gd name="connsiteY12" fmla="*/ 849312 h 1290638"/>
                  <a:gd name="connsiteX13" fmla="*/ 489631 w 1139825"/>
                  <a:gd name="connsiteY13" fmla="*/ 849312 h 1290638"/>
                  <a:gd name="connsiteX14" fmla="*/ 496888 w 1139825"/>
                  <a:gd name="connsiteY14" fmla="*/ 842225 h 1290638"/>
                  <a:gd name="connsiteX15" fmla="*/ 496888 w 1139825"/>
                  <a:gd name="connsiteY15" fmla="*/ 777024 h 1290638"/>
                  <a:gd name="connsiteX16" fmla="*/ 489631 w 1139825"/>
                  <a:gd name="connsiteY16" fmla="*/ 769937 h 1290638"/>
                  <a:gd name="connsiteX17" fmla="*/ 453345 w 1139825"/>
                  <a:gd name="connsiteY17" fmla="*/ 769937 h 1290638"/>
                  <a:gd name="connsiteX18" fmla="*/ 362631 w 1139825"/>
                  <a:gd name="connsiteY18" fmla="*/ 769937 h 1290638"/>
                  <a:gd name="connsiteX19" fmla="*/ 355600 w 1139825"/>
                  <a:gd name="connsiteY19" fmla="*/ 777024 h 1290638"/>
                  <a:gd name="connsiteX20" fmla="*/ 355600 w 1139825"/>
                  <a:gd name="connsiteY20" fmla="*/ 842225 h 1290638"/>
                  <a:gd name="connsiteX21" fmla="*/ 362631 w 1139825"/>
                  <a:gd name="connsiteY21" fmla="*/ 849312 h 1290638"/>
                  <a:gd name="connsiteX22" fmla="*/ 397783 w 1139825"/>
                  <a:gd name="connsiteY22" fmla="*/ 849312 h 1290638"/>
                  <a:gd name="connsiteX23" fmla="*/ 404813 w 1139825"/>
                  <a:gd name="connsiteY23" fmla="*/ 842225 h 1290638"/>
                  <a:gd name="connsiteX24" fmla="*/ 404813 w 1139825"/>
                  <a:gd name="connsiteY24" fmla="*/ 777024 h 1290638"/>
                  <a:gd name="connsiteX25" fmla="*/ 397783 w 1139825"/>
                  <a:gd name="connsiteY25" fmla="*/ 769937 h 1290638"/>
                  <a:gd name="connsiteX26" fmla="*/ 362631 w 1139825"/>
                  <a:gd name="connsiteY26" fmla="*/ 769937 h 1290638"/>
                  <a:gd name="connsiteX27" fmla="*/ 272246 w 1139825"/>
                  <a:gd name="connsiteY27" fmla="*/ 769937 h 1290638"/>
                  <a:gd name="connsiteX28" fmla="*/ 265113 w 1139825"/>
                  <a:gd name="connsiteY28" fmla="*/ 777024 h 1290638"/>
                  <a:gd name="connsiteX29" fmla="*/ 265113 w 1139825"/>
                  <a:gd name="connsiteY29" fmla="*/ 842225 h 1290638"/>
                  <a:gd name="connsiteX30" fmla="*/ 272246 w 1139825"/>
                  <a:gd name="connsiteY30" fmla="*/ 849312 h 1290638"/>
                  <a:gd name="connsiteX31" fmla="*/ 307194 w 1139825"/>
                  <a:gd name="connsiteY31" fmla="*/ 849312 h 1290638"/>
                  <a:gd name="connsiteX32" fmla="*/ 314326 w 1139825"/>
                  <a:gd name="connsiteY32" fmla="*/ 842225 h 1290638"/>
                  <a:gd name="connsiteX33" fmla="*/ 314326 w 1139825"/>
                  <a:gd name="connsiteY33" fmla="*/ 777024 h 1290638"/>
                  <a:gd name="connsiteX34" fmla="*/ 307194 w 1139825"/>
                  <a:gd name="connsiteY34" fmla="*/ 769937 h 1290638"/>
                  <a:gd name="connsiteX35" fmla="*/ 272246 w 1139825"/>
                  <a:gd name="connsiteY35" fmla="*/ 769937 h 1290638"/>
                  <a:gd name="connsiteX36" fmla="*/ 181882 w 1139825"/>
                  <a:gd name="connsiteY36" fmla="*/ 769937 h 1290638"/>
                  <a:gd name="connsiteX37" fmla="*/ 174625 w 1139825"/>
                  <a:gd name="connsiteY37" fmla="*/ 777024 h 1290638"/>
                  <a:gd name="connsiteX38" fmla="*/ 174625 w 1139825"/>
                  <a:gd name="connsiteY38" fmla="*/ 842225 h 1290638"/>
                  <a:gd name="connsiteX39" fmla="*/ 181882 w 1139825"/>
                  <a:gd name="connsiteY39" fmla="*/ 849312 h 1290638"/>
                  <a:gd name="connsiteX40" fmla="*/ 218168 w 1139825"/>
                  <a:gd name="connsiteY40" fmla="*/ 849312 h 1290638"/>
                  <a:gd name="connsiteX41" fmla="*/ 225425 w 1139825"/>
                  <a:gd name="connsiteY41" fmla="*/ 842225 h 1290638"/>
                  <a:gd name="connsiteX42" fmla="*/ 225425 w 1139825"/>
                  <a:gd name="connsiteY42" fmla="*/ 777024 h 1290638"/>
                  <a:gd name="connsiteX43" fmla="*/ 218168 w 1139825"/>
                  <a:gd name="connsiteY43" fmla="*/ 769937 h 1290638"/>
                  <a:gd name="connsiteX44" fmla="*/ 181882 w 1139825"/>
                  <a:gd name="connsiteY44" fmla="*/ 769937 h 1290638"/>
                  <a:gd name="connsiteX45" fmla="*/ 91395 w 1139825"/>
                  <a:gd name="connsiteY45" fmla="*/ 769937 h 1290638"/>
                  <a:gd name="connsiteX46" fmla="*/ 84138 w 1139825"/>
                  <a:gd name="connsiteY46" fmla="*/ 777024 h 1290638"/>
                  <a:gd name="connsiteX47" fmla="*/ 84138 w 1139825"/>
                  <a:gd name="connsiteY47" fmla="*/ 842225 h 1290638"/>
                  <a:gd name="connsiteX48" fmla="*/ 91395 w 1139825"/>
                  <a:gd name="connsiteY48" fmla="*/ 849312 h 1290638"/>
                  <a:gd name="connsiteX49" fmla="*/ 127681 w 1139825"/>
                  <a:gd name="connsiteY49" fmla="*/ 849312 h 1290638"/>
                  <a:gd name="connsiteX50" fmla="*/ 134938 w 1139825"/>
                  <a:gd name="connsiteY50" fmla="*/ 842225 h 1290638"/>
                  <a:gd name="connsiteX51" fmla="*/ 134938 w 1139825"/>
                  <a:gd name="connsiteY51" fmla="*/ 777024 h 1290638"/>
                  <a:gd name="connsiteX52" fmla="*/ 127681 w 1139825"/>
                  <a:gd name="connsiteY52" fmla="*/ 769937 h 1290638"/>
                  <a:gd name="connsiteX53" fmla="*/ 91395 w 1139825"/>
                  <a:gd name="connsiteY53" fmla="*/ 769937 h 1290638"/>
                  <a:gd name="connsiteX54" fmla="*/ 958086 w 1139825"/>
                  <a:gd name="connsiteY54" fmla="*/ 714375 h 1290638"/>
                  <a:gd name="connsiteX55" fmla="*/ 950913 w 1139825"/>
                  <a:gd name="connsiteY55" fmla="*/ 721604 h 1290638"/>
                  <a:gd name="connsiteX56" fmla="*/ 950913 w 1139825"/>
                  <a:gd name="connsiteY56" fmla="*/ 788109 h 1290638"/>
                  <a:gd name="connsiteX57" fmla="*/ 958086 w 1139825"/>
                  <a:gd name="connsiteY57" fmla="*/ 795338 h 1290638"/>
                  <a:gd name="connsiteX58" fmla="*/ 1062804 w 1139825"/>
                  <a:gd name="connsiteY58" fmla="*/ 795338 h 1290638"/>
                  <a:gd name="connsiteX59" fmla="*/ 1069976 w 1139825"/>
                  <a:gd name="connsiteY59" fmla="*/ 788109 h 1290638"/>
                  <a:gd name="connsiteX60" fmla="*/ 1069976 w 1139825"/>
                  <a:gd name="connsiteY60" fmla="*/ 721604 h 1290638"/>
                  <a:gd name="connsiteX61" fmla="*/ 1062804 w 1139825"/>
                  <a:gd name="connsiteY61" fmla="*/ 714375 h 1290638"/>
                  <a:gd name="connsiteX62" fmla="*/ 958086 w 1139825"/>
                  <a:gd name="connsiteY62" fmla="*/ 714375 h 1290638"/>
                  <a:gd name="connsiteX63" fmla="*/ 792890 w 1139825"/>
                  <a:gd name="connsiteY63" fmla="*/ 714375 h 1290638"/>
                  <a:gd name="connsiteX64" fmla="*/ 785813 w 1139825"/>
                  <a:gd name="connsiteY64" fmla="*/ 721604 h 1290638"/>
                  <a:gd name="connsiteX65" fmla="*/ 785813 w 1139825"/>
                  <a:gd name="connsiteY65" fmla="*/ 788109 h 1290638"/>
                  <a:gd name="connsiteX66" fmla="*/ 792890 w 1139825"/>
                  <a:gd name="connsiteY66" fmla="*/ 795338 h 1290638"/>
                  <a:gd name="connsiteX67" fmla="*/ 896211 w 1139825"/>
                  <a:gd name="connsiteY67" fmla="*/ 795338 h 1290638"/>
                  <a:gd name="connsiteX68" fmla="*/ 903288 w 1139825"/>
                  <a:gd name="connsiteY68" fmla="*/ 788109 h 1290638"/>
                  <a:gd name="connsiteX69" fmla="*/ 903288 w 1139825"/>
                  <a:gd name="connsiteY69" fmla="*/ 721604 h 1290638"/>
                  <a:gd name="connsiteX70" fmla="*/ 896211 w 1139825"/>
                  <a:gd name="connsiteY70" fmla="*/ 714375 h 1290638"/>
                  <a:gd name="connsiteX71" fmla="*/ 792890 w 1139825"/>
                  <a:gd name="connsiteY71" fmla="*/ 714375 h 1290638"/>
                  <a:gd name="connsiteX72" fmla="*/ 453345 w 1139825"/>
                  <a:gd name="connsiteY72" fmla="*/ 628650 h 1290638"/>
                  <a:gd name="connsiteX73" fmla="*/ 446088 w 1139825"/>
                  <a:gd name="connsiteY73" fmla="*/ 635801 h 1290638"/>
                  <a:gd name="connsiteX74" fmla="*/ 446088 w 1139825"/>
                  <a:gd name="connsiteY74" fmla="*/ 700874 h 1290638"/>
                  <a:gd name="connsiteX75" fmla="*/ 453345 w 1139825"/>
                  <a:gd name="connsiteY75" fmla="*/ 708025 h 1290638"/>
                  <a:gd name="connsiteX76" fmla="*/ 489631 w 1139825"/>
                  <a:gd name="connsiteY76" fmla="*/ 708025 h 1290638"/>
                  <a:gd name="connsiteX77" fmla="*/ 496888 w 1139825"/>
                  <a:gd name="connsiteY77" fmla="*/ 700874 h 1290638"/>
                  <a:gd name="connsiteX78" fmla="*/ 496888 w 1139825"/>
                  <a:gd name="connsiteY78" fmla="*/ 635801 h 1290638"/>
                  <a:gd name="connsiteX79" fmla="*/ 489631 w 1139825"/>
                  <a:gd name="connsiteY79" fmla="*/ 628650 h 1290638"/>
                  <a:gd name="connsiteX80" fmla="*/ 453345 w 1139825"/>
                  <a:gd name="connsiteY80" fmla="*/ 628650 h 1290638"/>
                  <a:gd name="connsiteX81" fmla="*/ 362631 w 1139825"/>
                  <a:gd name="connsiteY81" fmla="*/ 628650 h 1290638"/>
                  <a:gd name="connsiteX82" fmla="*/ 355600 w 1139825"/>
                  <a:gd name="connsiteY82" fmla="*/ 635801 h 1290638"/>
                  <a:gd name="connsiteX83" fmla="*/ 355600 w 1139825"/>
                  <a:gd name="connsiteY83" fmla="*/ 700874 h 1290638"/>
                  <a:gd name="connsiteX84" fmla="*/ 362631 w 1139825"/>
                  <a:gd name="connsiteY84" fmla="*/ 708025 h 1290638"/>
                  <a:gd name="connsiteX85" fmla="*/ 397783 w 1139825"/>
                  <a:gd name="connsiteY85" fmla="*/ 708025 h 1290638"/>
                  <a:gd name="connsiteX86" fmla="*/ 404813 w 1139825"/>
                  <a:gd name="connsiteY86" fmla="*/ 700874 h 1290638"/>
                  <a:gd name="connsiteX87" fmla="*/ 404813 w 1139825"/>
                  <a:gd name="connsiteY87" fmla="*/ 635801 h 1290638"/>
                  <a:gd name="connsiteX88" fmla="*/ 397783 w 1139825"/>
                  <a:gd name="connsiteY88" fmla="*/ 628650 h 1290638"/>
                  <a:gd name="connsiteX89" fmla="*/ 362631 w 1139825"/>
                  <a:gd name="connsiteY89" fmla="*/ 628650 h 1290638"/>
                  <a:gd name="connsiteX90" fmla="*/ 272246 w 1139825"/>
                  <a:gd name="connsiteY90" fmla="*/ 628650 h 1290638"/>
                  <a:gd name="connsiteX91" fmla="*/ 265113 w 1139825"/>
                  <a:gd name="connsiteY91" fmla="*/ 635801 h 1290638"/>
                  <a:gd name="connsiteX92" fmla="*/ 265113 w 1139825"/>
                  <a:gd name="connsiteY92" fmla="*/ 700874 h 1290638"/>
                  <a:gd name="connsiteX93" fmla="*/ 272246 w 1139825"/>
                  <a:gd name="connsiteY93" fmla="*/ 708025 h 1290638"/>
                  <a:gd name="connsiteX94" fmla="*/ 307194 w 1139825"/>
                  <a:gd name="connsiteY94" fmla="*/ 708025 h 1290638"/>
                  <a:gd name="connsiteX95" fmla="*/ 314326 w 1139825"/>
                  <a:gd name="connsiteY95" fmla="*/ 700874 h 1290638"/>
                  <a:gd name="connsiteX96" fmla="*/ 314326 w 1139825"/>
                  <a:gd name="connsiteY96" fmla="*/ 635801 h 1290638"/>
                  <a:gd name="connsiteX97" fmla="*/ 307194 w 1139825"/>
                  <a:gd name="connsiteY97" fmla="*/ 628650 h 1290638"/>
                  <a:gd name="connsiteX98" fmla="*/ 272246 w 1139825"/>
                  <a:gd name="connsiteY98" fmla="*/ 628650 h 1290638"/>
                  <a:gd name="connsiteX99" fmla="*/ 181882 w 1139825"/>
                  <a:gd name="connsiteY99" fmla="*/ 628650 h 1290638"/>
                  <a:gd name="connsiteX100" fmla="*/ 174625 w 1139825"/>
                  <a:gd name="connsiteY100" fmla="*/ 635801 h 1290638"/>
                  <a:gd name="connsiteX101" fmla="*/ 174625 w 1139825"/>
                  <a:gd name="connsiteY101" fmla="*/ 700874 h 1290638"/>
                  <a:gd name="connsiteX102" fmla="*/ 181882 w 1139825"/>
                  <a:gd name="connsiteY102" fmla="*/ 708025 h 1290638"/>
                  <a:gd name="connsiteX103" fmla="*/ 218168 w 1139825"/>
                  <a:gd name="connsiteY103" fmla="*/ 708025 h 1290638"/>
                  <a:gd name="connsiteX104" fmla="*/ 225425 w 1139825"/>
                  <a:gd name="connsiteY104" fmla="*/ 700874 h 1290638"/>
                  <a:gd name="connsiteX105" fmla="*/ 225425 w 1139825"/>
                  <a:gd name="connsiteY105" fmla="*/ 635801 h 1290638"/>
                  <a:gd name="connsiteX106" fmla="*/ 218168 w 1139825"/>
                  <a:gd name="connsiteY106" fmla="*/ 628650 h 1290638"/>
                  <a:gd name="connsiteX107" fmla="*/ 181882 w 1139825"/>
                  <a:gd name="connsiteY107" fmla="*/ 628650 h 1290638"/>
                  <a:gd name="connsiteX108" fmla="*/ 958086 w 1139825"/>
                  <a:gd name="connsiteY108" fmla="*/ 596900 h 1290638"/>
                  <a:gd name="connsiteX109" fmla="*/ 950913 w 1139825"/>
                  <a:gd name="connsiteY109" fmla="*/ 603987 h 1290638"/>
                  <a:gd name="connsiteX110" fmla="*/ 950913 w 1139825"/>
                  <a:gd name="connsiteY110" fmla="*/ 669188 h 1290638"/>
                  <a:gd name="connsiteX111" fmla="*/ 958086 w 1139825"/>
                  <a:gd name="connsiteY111" fmla="*/ 676275 h 1290638"/>
                  <a:gd name="connsiteX112" fmla="*/ 1062804 w 1139825"/>
                  <a:gd name="connsiteY112" fmla="*/ 676275 h 1290638"/>
                  <a:gd name="connsiteX113" fmla="*/ 1069976 w 1139825"/>
                  <a:gd name="connsiteY113" fmla="*/ 669188 h 1290638"/>
                  <a:gd name="connsiteX114" fmla="*/ 1069976 w 1139825"/>
                  <a:gd name="connsiteY114" fmla="*/ 603987 h 1290638"/>
                  <a:gd name="connsiteX115" fmla="*/ 1062804 w 1139825"/>
                  <a:gd name="connsiteY115" fmla="*/ 596900 h 1290638"/>
                  <a:gd name="connsiteX116" fmla="*/ 958086 w 1139825"/>
                  <a:gd name="connsiteY116" fmla="*/ 596900 h 1290638"/>
                  <a:gd name="connsiteX117" fmla="*/ 792890 w 1139825"/>
                  <a:gd name="connsiteY117" fmla="*/ 596900 h 1290638"/>
                  <a:gd name="connsiteX118" fmla="*/ 785813 w 1139825"/>
                  <a:gd name="connsiteY118" fmla="*/ 603987 h 1290638"/>
                  <a:gd name="connsiteX119" fmla="*/ 785813 w 1139825"/>
                  <a:gd name="connsiteY119" fmla="*/ 669188 h 1290638"/>
                  <a:gd name="connsiteX120" fmla="*/ 792890 w 1139825"/>
                  <a:gd name="connsiteY120" fmla="*/ 676275 h 1290638"/>
                  <a:gd name="connsiteX121" fmla="*/ 896211 w 1139825"/>
                  <a:gd name="connsiteY121" fmla="*/ 676275 h 1290638"/>
                  <a:gd name="connsiteX122" fmla="*/ 903288 w 1139825"/>
                  <a:gd name="connsiteY122" fmla="*/ 669188 h 1290638"/>
                  <a:gd name="connsiteX123" fmla="*/ 903288 w 1139825"/>
                  <a:gd name="connsiteY123" fmla="*/ 603987 h 1290638"/>
                  <a:gd name="connsiteX124" fmla="*/ 896211 w 1139825"/>
                  <a:gd name="connsiteY124" fmla="*/ 596900 h 1290638"/>
                  <a:gd name="connsiteX125" fmla="*/ 792890 w 1139825"/>
                  <a:gd name="connsiteY125" fmla="*/ 596900 h 1290638"/>
                  <a:gd name="connsiteX126" fmla="*/ 453345 w 1139825"/>
                  <a:gd name="connsiteY126" fmla="*/ 487362 h 1290638"/>
                  <a:gd name="connsiteX127" fmla="*/ 446088 w 1139825"/>
                  <a:gd name="connsiteY127" fmla="*/ 494513 h 1290638"/>
                  <a:gd name="connsiteX128" fmla="*/ 446088 w 1139825"/>
                  <a:gd name="connsiteY128" fmla="*/ 559586 h 1290638"/>
                  <a:gd name="connsiteX129" fmla="*/ 453345 w 1139825"/>
                  <a:gd name="connsiteY129" fmla="*/ 566737 h 1290638"/>
                  <a:gd name="connsiteX130" fmla="*/ 489631 w 1139825"/>
                  <a:gd name="connsiteY130" fmla="*/ 566737 h 1290638"/>
                  <a:gd name="connsiteX131" fmla="*/ 496888 w 1139825"/>
                  <a:gd name="connsiteY131" fmla="*/ 559586 h 1290638"/>
                  <a:gd name="connsiteX132" fmla="*/ 496888 w 1139825"/>
                  <a:gd name="connsiteY132" fmla="*/ 494513 h 1290638"/>
                  <a:gd name="connsiteX133" fmla="*/ 489631 w 1139825"/>
                  <a:gd name="connsiteY133" fmla="*/ 487362 h 1290638"/>
                  <a:gd name="connsiteX134" fmla="*/ 453345 w 1139825"/>
                  <a:gd name="connsiteY134" fmla="*/ 487362 h 1290638"/>
                  <a:gd name="connsiteX135" fmla="*/ 362631 w 1139825"/>
                  <a:gd name="connsiteY135" fmla="*/ 487362 h 1290638"/>
                  <a:gd name="connsiteX136" fmla="*/ 355600 w 1139825"/>
                  <a:gd name="connsiteY136" fmla="*/ 494513 h 1290638"/>
                  <a:gd name="connsiteX137" fmla="*/ 355600 w 1139825"/>
                  <a:gd name="connsiteY137" fmla="*/ 559586 h 1290638"/>
                  <a:gd name="connsiteX138" fmla="*/ 362631 w 1139825"/>
                  <a:gd name="connsiteY138" fmla="*/ 566737 h 1290638"/>
                  <a:gd name="connsiteX139" fmla="*/ 397783 w 1139825"/>
                  <a:gd name="connsiteY139" fmla="*/ 566737 h 1290638"/>
                  <a:gd name="connsiteX140" fmla="*/ 404813 w 1139825"/>
                  <a:gd name="connsiteY140" fmla="*/ 559586 h 1290638"/>
                  <a:gd name="connsiteX141" fmla="*/ 404813 w 1139825"/>
                  <a:gd name="connsiteY141" fmla="*/ 494513 h 1290638"/>
                  <a:gd name="connsiteX142" fmla="*/ 397783 w 1139825"/>
                  <a:gd name="connsiteY142" fmla="*/ 487362 h 1290638"/>
                  <a:gd name="connsiteX143" fmla="*/ 362631 w 1139825"/>
                  <a:gd name="connsiteY143" fmla="*/ 487362 h 1290638"/>
                  <a:gd name="connsiteX144" fmla="*/ 272246 w 1139825"/>
                  <a:gd name="connsiteY144" fmla="*/ 487362 h 1290638"/>
                  <a:gd name="connsiteX145" fmla="*/ 265113 w 1139825"/>
                  <a:gd name="connsiteY145" fmla="*/ 494513 h 1290638"/>
                  <a:gd name="connsiteX146" fmla="*/ 265113 w 1139825"/>
                  <a:gd name="connsiteY146" fmla="*/ 559586 h 1290638"/>
                  <a:gd name="connsiteX147" fmla="*/ 272246 w 1139825"/>
                  <a:gd name="connsiteY147" fmla="*/ 566737 h 1290638"/>
                  <a:gd name="connsiteX148" fmla="*/ 307194 w 1139825"/>
                  <a:gd name="connsiteY148" fmla="*/ 566737 h 1290638"/>
                  <a:gd name="connsiteX149" fmla="*/ 314326 w 1139825"/>
                  <a:gd name="connsiteY149" fmla="*/ 559586 h 1290638"/>
                  <a:gd name="connsiteX150" fmla="*/ 314326 w 1139825"/>
                  <a:gd name="connsiteY150" fmla="*/ 494513 h 1290638"/>
                  <a:gd name="connsiteX151" fmla="*/ 307194 w 1139825"/>
                  <a:gd name="connsiteY151" fmla="*/ 487362 h 1290638"/>
                  <a:gd name="connsiteX152" fmla="*/ 272246 w 1139825"/>
                  <a:gd name="connsiteY152" fmla="*/ 487362 h 1290638"/>
                  <a:gd name="connsiteX153" fmla="*/ 958086 w 1139825"/>
                  <a:gd name="connsiteY153" fmla="*/ 477837 h 1290638"/>
                  <a:gd name="connsiteX154" fmla="*/ 950913 w 1139825"/>
                  <a:gd name="connsiteY154" fmla="*/ 484924 h 1290638"/>
                  <a:gd name="connsiteX155" fmla="*/ 950913 w 1139825"/>
                  <a:gd name="connsiteY155" fmla="*/ 550125 h 1290638"/>
                  <a:gd name="connsiteX156" fmla="*/ 958086 w 1139825"/>
                  <a:gd name="connsiteY156" fmla="*/ 557212 h 1290638"/>
                  <a:gd name="connsiteX157" fmla="*/ 1062804 w 1139825"/>
                  <a:gd name="connsiteY157" fmla="*/ 557212 h 1290638"/>
                  <a:gd name="connsiteX158" fmla="*/ 1069976 w 1139825"/>
                  <a:gd name="connsiteY158" fmla="*/ 550125 h 1290638"/>
                  <a:gd name="connsiteX159" fmla="*/ 1069976 w 1139825"/>
                  <a:gd name="connsiteY159" fmla="*/ 484924 h 1290638"/>
                  <a:gd name="connsiteX160" fmla="*/ 1062804 w 1139825"/>
                  <a:gd name="connsiteY160" fmla="*/ 477837 h 1290638"/>
                  <a:gd name="connsiteX161" fmla="*/ 958086 w 1139825"/>
                  <a:gd name="connsiteY161" fmla="*/ 477837 h 1290638"/>
                  <a:gd name="connsiteX162" fmla="*/ 792890 w 1139825"/>
                  <a:gd name="connsiteY162" fmla="*/ 477837 h 1290638"/>
                  <a:gd name="connsiteX163" fmla="*/ 785813 w 1139825"/>
                  <a:gd name="connsiteY163" fmla="*/ 484924 h 1290638"/>
                  <a:gd name="connsiteX164" fmla="*/ 785813 w 1139825"/>
                  <a:gd name="connsiteY164" fmla="*/ 550125 h 1290638"/>
                  <a:gd name="connsiteX165" fmla="*/ 792890 w 1139825"/>
                  <a:gd name="connsiteY165" fmla="*/ 557212 h 1290638"/>
                  <a:gd name="connsiteX166" fmla="*/ 896211 w 1139825"/>
                  <a:gd name="connsiteY166" fmla="*/ 557212 h 1290638"/>
                  <a:gd name="connsiteX167" fmla="*/ 903288 w 1139825"/>
                  <a:gd name="connsiteY167" fmla="*/ 550125 h 1290638"/>
                  <a:gd name="connsiteX168" fmla="*/ 903288 w 1139825"/>
                  <a:gd name="connsiteY168" fmla="*/ 484924 h 1290638"/>
                  <a:gd name="connsiteX169" fmla="*/ 896211 w 1139825"/>
                  <a:gd name="connsiteY169" fmla="*/ 477837 h 1290638"/>
                  <a:gd name="connsiteX170" fmla="*/ 792890 w 1139825"/>
                  <a:gd name="connsiteY170" fmla="*/ 477837 h 1290638"/>
                  <a:gd name="connsiteX171" fmla="*/ 958086 w 1139825"/>
                  <a:gd name="connsiteY171" fmla="*/ 358775 h 1290638"/>
                  <a:gd name="connsiteX172" fmla="*/ 950913 w 1139825"/>
                  <a:gd name="connsiteY172" fmla="*/ 366004 h 1290638"/>
                  <a:gd name="connsiteX173" fmla="*/ 950913 w 1139825"/>
                  <a:gd name="connsiteY173" fmla="*/ 432509 h 1290638"/>
                  <a:gd name="connsiteX174" fmla="*/ 958086 w 1139825"/>
                  <a:gd name="connsiteY174" fmla="*/ 439738 h 1290638"/>
                  <a:gd name="connsiteX175" fmla="*/ 1062804 w 1139825"/>
                  <a:gd name="connsiteY175" fmla="*/ 439738 h 1290638"/>
                  <a:gd name="connsiteX176" fmla="*/ 1069976 w 1139825"/>
                  <a:gd name="connsiteY176" fmla="*/ 432509 h 1290638"/>
                  <a:gd name="connsiteX177" fmla="*/ 1069976 w 1139825"/>
                  <a:gd name="connsiteY177" fmla="*/ 366004 h 1290638"/>
                  <a:gd name="connsiteX178" fmla="*/ 1062804 w 1139825"/>
                  <a:gd name="connsiteY178" fmla="*/ 358775 h 1290638"/>
                  <a:gd name="connsiteX179" fmla="*/ 958086 w 1139825"/>
                  <a:gd name="connsiteY179" fmla="*/ 358775 h 1290638"/>
                  <a:gd name="connsiteX180" fmla="*/ 792890 w 1139825"/>
                  <a:gd name="connsiteY180" fmla="*/ 358775 h 1290638"/>
                  <a:gd name="connsiteX181" fmla="*/ 785813 w 1139825"/>
                  <a:gd name="connsiteY181" fmla="*/ 366004 h 1290638"/>
                  <a:gd name="connsiteX182" fmla="*/ 785813 w 1139825"/>
                  <a:gd name="connsiteY182" fmla="*/ 432509 h 1290638"/>
                  <a:gd name="connsiteX183" fmla="*/ 792890 w 1139825"/>
                  <a:gd name="connsiteY183" fmla="*/ 439738 h 1290638"/>
                  <a:gd name="connsiteX184" fmla="*/ 896211 w 1139825"/>
                  <a:gd name="connsiteY184" fmla="*/ 439738 h 1290638"/>
                  <a:gd name="connsiteX185" fmla="*/ 903288 w 1139825"/>
                  <a:gd name="connsiteY185" fmla="*/ 432509 h 1290638"/>
                  <a:gd name="connsiteX186" fmla="*/ 903288 w 1139825"/>
                  <a:gd name="connsiteY186" fmla="*/ 366004 h 1290638"/>
                  <a:gd name="connsiteX187" fmla="*/ 896211 w 1139825"/>
                  <a:gd name="connsiteY187" fmla="*/ 358775 h 1290638"/>
                  <a:gd name="connsiteX188" fmla="*/ 792890 w 1139825"/>
                  <a:gd name="connsiteY188" fmla="*/ 358775 h 1290638"/>
                  <a:gd name="connsiteX189" fmla="*/ 453345 w 1139825"/>
                  <a:gd name="connsiteY189" fmla="*/ 346075 h 1290638"/>
                  <a:gd name="connsiteX190" fmla="*/ 446088 w 1139825"/>
                  <a:gd name="connsiteY190" fmla="*/ 353304 h 1290638"/>
                  <a:gd name="connsiteX191" fmla="*/ 446088 w 1139825"/>
                  <a:gd name="connsiteY191" fmla="*/ 419809 h 1290638"/>
                  <a:gd name="connsiteX192" fmla="*/ 453345 w 1139825"/>
                  <a:gd name="connsiteY192" fmla="*/ 427038 h 1290638"/>
                  <a:gd name="connsiteX193" fmla="*/ 489631 w 1139825"/>
                  <a:gd name="connsiteY193" fmla="*/ 427038 h 1290638"/>
                  <a:gd name="connsiteX194" fmla="*/ 496888 w 1139825"/>
                  <a:gd name="connsiteY194" fmla="*/ 419809 h 1290638"/>
                  <a:gd name="connsiteX195" fmla="*/ 496888 w 1139825"/>
                  <a:gd name="connsiteY195" fmla="*/ 353304 h 1290638"/>
                  <a:gd name="connsiteX196" fmla="*/ 489631 w 1139825"/>
                  <a:gd name="connsiteY196" fmla="*/ 346075 h 1290638"/>
                  <a:gd name="connsiteX197" fmla="*/ 453345 w 1139825"/>
                  <a:gd name="connsiteY197" fmla="*/ 346075 h 1290638"/>
                  <a:gd name="connsiteX198" fmla="*/ 362631 w 1139825"/>
                  <a:gd name="connsiteY198" fmla="*/ 346075 h 1290638"/>
                  <a:gd name="connsiteX199" fmla="*/ 355600 w 1139825"/>
                  <a:gd name="connsiteY199" fmla="*/ 353304 h 1290638"/>
                  <a:gd name="connsiteX200" fmla="*/ 355600 w 1139825"/>
                  <a:gd name="connsiteY200" fmla="*/ 419809 h 1290638"/>
                  <a:gd name="connsiteX201" fmla="*/ 362631 w 1139825"/>
                  <a:gd name="connsiteY201" fmla="*/ 427038 h 1290638"/>
                  <a:gd name="connsiteX202" fmla="*/ 397783 w 1139825"/>
                  <a:gd name="connsiteY202" fmla="*/ 427038 h 1290638"/>
                  <a:gd name="connsiteX203" fmla="*/ 404813 w 1139825"/>
                  <a:gd name="connsiteY203" fmla="*/ 419809 h 1290638"/>
                  <a:gd name="connsiteX204" fmla="*/ 404813 w 1139825"/>
                  <a:gd name="connsiteY204" fmla="*/ 353304 h 1290638"/>
                  <a:gd name="connsiteX205" fmla="*/ 397783 w 1139825"/>
                  <a:gd name="connsiteY205" fmla="*/ 346075 h 1290638"/>
                  <a:gd name="connsiteX206" fmla="*/ 362631 w 1139825"/>
                  <a:gd name="connsiteY206" fmla="*/ 346075 h 1290638"/>
                  <a:gd name="connsiteX207" fmla="*/ 285558 w 1139825"/>
                  <a:gd name="connsiteY207" fmla="*/ 266700 h 1290638"/>
                  <a:gd name="connsiteX208" fmla="*/ 573258 w 1139825"/>
                  <a:gd name="connsiteY208" fmla="*/ 266700 h 1290638"/>
                  <a:gd name="connsiteX209" fmla="*/ 588963 w 1139825"/>
                  <a:gd name="connsiteY209" fmla="*/ 282398 h 1290638"/>
                  <a:gd name="connsiteX210" fmla="*/ 588963 w 1139825"/>
                  <a:gd name="connsiteY210" fmla="*/ 858229 h 1290638"/>
                  <a:gd name="connsiteX211" fmla="*/ 566832 w 1139825"/>
                  <a:gd name="connsiteY211" fmla="*/ 861084 h 1290638"/>
                  <a:gd name="connsiteX212" fmla="*/ 491160 w 1139825"/>
                  <a:gd name="connsiteY212" fmla="*/ 874641 h 1290638"/>
                  <a:gd name="connsiteX213" fmla="*/ 305547 w 1139825"/>
                  <a:gd name="connsiteY213" fmla="*/ 950277 h 1290638"/>
                  <a:gd name="connsiteX214" fmla="*/ 285558 w 1139825"/>
                  <a:gd name="connsiteY214" fmla="*/ 962407 h 1290638"/>
                  <a:gd name="connsiteX215" fmla="*/ 284130 w 1139825"/>
                  <a:gd name="connsiteY215" fmla="*/ 958839 h 1290638"/>
                  <a:gd name="connsiteX216" fmla="*/ 240583 w 1139825"/>
                  <a:gd name="connsiteY216" fmla="*/ 930298 h 1290638"/>
                  <a:gd name="connsiteX217" fmla="*/ 185613 w 1139825"/>
                  <a:gd name="connsiteY217" fmla="*/ 930298 h 1290638"/>
                  <a:gd name="connsiteX218" fmla="*/ 138496 w 1139825"/>
                  <a:gd name="connsiteY218" fmla="*/ 973110 h 1290638"/>
                  <a:gd name="connsiteX219" fmla="*/ 107084 w 1139825"/>
                  <a:gd name="connsiteY219" fmla="*/ 1290638 h 1290638"/>
                  <a:gd name="connsiteX220" fmla="*/ 31412 w 1139825"/>
                  <a:gd name="connsiteY220" fmla="*/ 1290638 h 1290638"/>
                  <a:gd name="connsiteX221" fmla="*/ 15706 w 1139825"/>
                  <a:gd name="connsiteY221" fmla="*/ 1290638 h 1290638"/>
                  <a:gd name="connsiteX222" fmla="*/ 0 w 1139825"/>
                  <a:gd name="connsiteY222" fmla="*/ 1290638 h 1290638"/>
                  <a:gd name="connsiteX223" fmla="*/ 0 w 1139825"/>
                  <a:gd name="connsiteY223" fmla="*/ 788302 h 1290638"/>
                  <a:gd name="connsiteX224" fmla="*/ 2142 w 1139825"/>
                  <a:gd name="connsiteY224" fmla="*/ 780453 h 1290638"/>
                  <a:gd name="connsiteX225" fmla="*/ 269852 w 1139825"/>
                  <a:gd name="connsiteY225" fmla="*/ 343763 h 1290638"/>
                  <a:gd name="connsiteX226" fmla="*/ 269852 w 1139825"/>
                  <a:gd name="connsiteY226" fmla="*/ 282398 h 1290638"/>
                  <a:gd name="connsiteX227" fmla="*/ 285558 w 1139825"/>
                  <a:gd name="connsiteY227" fmla="*/ 266700 h 1290638"/>
                  <a:gd name="connsiteX228" fmla="*/ 958086 w 1139825"/>
                  <a:gd name="connsiteY228" fmla="*/ 241300 h 1290638"/>
                  <a:gd name="connsiteX229" fmla="*/ 950913 w 1139825"/>
                  <a:gd name="connsiteY229" fmla="*/ 248387 h 1290638"/>
                  <a:gd name="connsiteX230" fmla="*/ 950913 w 1139825"/>
                  <a:gd name="connsiteY230" fmla="*/ 313588 h 1290638"/>
                  <a:gd name="connsiteX231" fmla="*/ 958086 w 1139825"/>
                  <a:gd name="connsiteY231" fmla="*/ 320675 h 1290638"/>
                  <a:gd name="connsiteX232" fmla="*/ 1062804 w 1139825"/>
                  <a:gd name="connsiteY232" fmla="*/ 320675 h 1290638"/>
                  <a:gd name="connsiteX233" fmla="*/ 1069976 w 1139825"/>
                  <a:gd name="connsiteY233" fmla="*/ 313588 h 1290638"/>
                  <a:gd name="connsiteX234" fmla="*/ 1069976 w 1139825"/>
                  <a:gd name="connsiteY234" fmla="*/ 248387 h 1290638"/>
                  <a:gd name="connsiteX235" fmla="*/ 1062804 w 1139825"/>
                  <a:gd name="connsiteY235" fmla="*/ 241300 h 1290638"/>
                  <a:gd name="connsiteX236" fmla="*/ 958086 w 1139825"/>
                  <a:gd name="connsiteY236" fmla="*/ 241300 h 1290638"/>
                  <a:gd name="connsiteX237" fmla="*/ 792890 w 1139825"/>
                  <a:gd name="connsiteY237" fmla="*/ 241300 h 1290638"/>
                  <a:gd name="connsiteX238" fmla="*/ 785813 w 1139825"/>
                  <a:gd name="connsiteY238" fmla="*/ 248387 h 1290638"/>
                  <a:gd name="connsiteX239" fmla="*/ 785813 w 1139825"/>
                  <a:gd name="connsiteY239" fmla="*/ 313588 h 1290638"/>
                  <a:gd name="connsiteX240" fmla="*/ 792890 w 1139825"/>
                  <a:gd name="connsiteY240" fmla="*/ 320675 h 1290638"/>
                  <a:gd name="connsiteX241" fmla="*/ 896211 w 1139825"/>
                  <a:gd name="connsiteY241" fmla="*/ 320675 h 1290638"/>
                  <a:gd name="connsiteX242" fmla="*/ 903288 w 1139825"/>
                  <a:gd name="connsiteY242" fmla="*/ 313588 h 1290638"/>
                  <a:gd name="connsiteX243" fmla="*/ 903288 w 1139825"/>
                  <a:gd name="connsiteY243" fmla="*/ 248387 h 1290638"/>
                  <a:gd name="connsiteX244" fmla="*/ 896211 w 1139825"/>
                  <a:gd name="connsiteY244" fmla="*/ 241300 h 1290638"/>
                  <a:gd name="connsiteX245" fmla="*/ 792890 w 1139825"/>
                  <a:gd name="connsiteY245" fmla="*/ 241300 h 1290638"/>
                  <a:gd name="connsiteX246" fmla="*/ 927458 w 1139825"/>
                  <a:gd name="connsiteY246" fmla="*/ 0 h 1290638"/>
                  <a:gd name="connsiteX247" fmla="*/ 943189 w 1139825"/>
                  <a:gd name="connsiteY247" fmla="*/ 15692 h 1290638"/>
                  <a:gd name="connsiteX248" fmla="*/ 943189 w 1139825"/>
                  <a:gd name="connsiteY248" fmla="*/ 108416 h 1290638"/>
                  <a:gd name="connsiteX249" fmla="*/ 1081192 w 1139825"/>
                  <a:gd name="connsiteY249" fmla="*/ 108416 h 1290638"/>
                  <a:gd name="connsiteX250" fmla="*/ 1096923 w 1139825"/>
                  <a:gd name="connsiteY250" fmla="*/ 124107 h 1290638"/>
                  <a:gd name="connsiteX251" fmla="*/ 1096923 w 1139825"/>
                  <a:gd name="connsiteY251" fmla="*/ 169043 h 1290638"/>
                  <a:gd name="connsiteX252" fmla="*/ 1124809 w 1139825"/>
                  <a:gd name="connsiteY252" fmla="*/ 169043 h 1290638"/>
                  <a:gd name="connsiteX253" fmla="*/ 1139825 w 1139825"/>
                  <a:gd name="connsiteY253" fmla="*/ 184734 h 1290638"/>
                  <a:gd name="connsiteX254" fmla="*/ 1139825 w 1139825"/>
                  <a:gd name="connsiteY254" fmla="*/ 933656 h 1290638"/>
                  <a:gd name="connsiteX255" fmla="*/ 1126954 w 1139825"/>
                  <a:gd name="connsiteY255" fmla="*/ 931516 h 1290638"/>
                  <a:gd name="connsiteX256" fmla="*/ 1124809 w 1139825"/>
                  <a:gd name="connsiteY256" fmla="*/ 931516 h 1290638"/>
                  <a:gd name="connsiteX257" fmla="*/ 1109078 w 1139825"/>
                  <a:gd name="connsiteY257" fmla="*/ 931516 h 1290638"/>
                  <a:gd name="connsiteX258" fmla="*/ 1071896 w 1139825"/>
                  <a:gd name="connsiteY258" fmla="*/ 931516 h 1290638"/>
                  <a:gd name="connsiteX259" fmla="*/ 1026849 w 1139825"/>
                  <a:gd name="connsiteY259" fmla="*/ 963613 h 1290638"/>
                  <a:gd name="connsiteX260" fmla="*/ 903861 w 1139825"/>
                  <a:gd name="connsiteY260" fmla="*/ 901560 h 1290638"/>
                  <a:gd name="connsiteX261" fmla="*/ 903861 w 1139825"/>
                  <a:gd name="connsiteY261" fmla="*/ 840219 h 1290638"/>
                  <a:gd name="connsiteX262" fmla="*/ 896711 w 1139825"/>
                  <a:gd name="connsiteY262" fmla="*/ 833087 h 1290638"/>
                  <a:gd name="connsiteX263" fmla="*/ 792315 w 1139825"/>
                  <a:gd name="connsiteY263" fmla="*/ 833087 h 1290638"/>
                  <a:gd name="connsiteX264" fmla="*/ 785164 w 1139825"/>
                  <a:gd name="connsiteY264" fmla="*/ 840219 h 1290638"/>
                  <a:gd name="connsiteX265" fmla="*/ 785164 w 1139825"/>
                  <a:gd name="connsiteY265" fmla="*/ 868036 h 1290638"/>
                  <a:gd name="connsiteX266" fmla="*/ 745837 w 1139825"/>
                  <a:gd name="connsiteY266" fmla="*/ 861617 h 1290638"/>
                  <a:gd name="connsiteX267" fmla="*/ 730106 w 1139825"/>
                  <a:gd name="connsiteY267" fmla="*/ 860191 h 1290638"/>
                  <a:gd name="connsiteX268" fmla="*/ 714375 w 1139825"/>
                  <a:gd name="connsiteY268" fmla="*/ 858051 h 1290638"/>
                  <a:gd name="connsiteX269" fmla="*/ 714375 w 1139825"/>
                  <a:gd name="connsiteY269" fmla="*/ 184734 h 1290638"/>
                  <a:gd name="connsiteX270" fmla="*/ 730106 w 1139825"/>
                  <a:gd name="connsiteY270" fmla="*/ 169043 h 1290638"/>
                  <a:gd name="connsiteX271" fmla="*/ 758708 w 1139825"/>
                  <a:gd name="connsiteY271" fmla="*/ 169043 h 1290638"/>
                  <a:gd name="connsiteX272" fmla="*/ 758708 w 1139825"/>
                  <a:gd name="connsiteY272" fmla="*/ 124107 h 1290638"/>
                  <a:gd name="connsiteX273" fmla="*/ 774439 w 1139825"/>
                  <a:gd name="connsiteY273" fmla="*/ 108416 h 1290638"/>
                  <a:gd name="connsiteX274" fmla="*/ 911727 w 1139825"/>
                  <a:gd name="connsiteY274" fmla="*/ 108416 h 1290638"/>
                  <a:gd name="connsiteX275" fmla="*/ 911727 w 1139825"/>
                  <a:gd name="connsiteY275" fmla="*/ 15692 h 1290638"/>
                  <a:gd name="connsiteX276" fmla="*/ 927458 w 1139825"/>
                  <a:gd name="connsiteY276" fmla="*/ 0 h 1290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</a:cxnLst>
                <a:rect l="l" t="t" r="r" b="b"/>
                <a:pathLst>
                  <a:path w="1139825" h="1290638">
                    <a:moveTo>
                      <a:pt x="958086" y="833437"/>
                    </a:moveTo>
                    <a:cubicBezTo>
                      <a:pt x="953782" y="833437"/>
                      <a:pt x="950913" y="836981"/>
                      <a:pt x="950913" y="840524"/>
                    </a:cubicBezTo>
                    <a:cubicBezTo>
                      <a:pt x="950913" y="840524"/>
                      <a:pt x="950913" y="840524"/>
                      <a:pt x="950913" y="905725"/>
                    </a:cubicBezTo>
                    <a:cubicBezTo>
                      <a:pt x="950913" y="909977"/>
                      <a:pt x="953782" y="912812"/>
                      <a:pt x="958086" y="912812"/>
                    </a:cubicBezTo>
                    <a:cubicBezTo>
                      <a:pt x="958086" y="912812"/>
                      <a:pt x="958086" y="912812"/>
                      <a:pt x="1062804" y="912812"/>
                    </a:cubicBezTo>
                    <a:cubicBezTo>
                      <a:pt x="1067107" y="912812"/>
                      <a:pt x="1069976" y="909977"/>
                      <a:pt x="1069976" y="905725"/>
                    </a:cubicBezTo>
                    <a:cubicBezTo>
                      <a:pt x="1069976" y="905725"/>
                      <a:pt x="1069976" y="905725"/>
                      <a:pt x="1069976" y="840524"/>
                    </a:cubicBezTo>
                    <a:cubicBezTo>
                      <a:pt x="1069976" y="836981"/>
                      <a:pt x="1067107" y="833437"/>
                      <a:pt x="1062804" y="833437"/>
                    </a:cubicBezTo>
                    <a:cubicBezTo>
                      <a:pt x="1062804" y="833437"/>
                      <a:pt x="1062804" y="833437"/>
                      <a:pt x="958086" y="833437"/>
                    </a:cubicBezTo>
                    <a:close/>
                    <a:moveTo>
                      <a:pt x="453345" y="769937"/>
                    </a:moveTo>
                    <a:cubicBezTo>
                      <a:pt x="449717" y="769937"/>
                      <a:pt x="446088" y="773481"/>
                      <a:pt x="446088" y="777024"/>
                    </a:cubicBezTo>
                    <a:cubicBezTo>
                      <a:pt x="446088" y="777024"/>
                      <a:pt x="446088" y="777024"/>
                      <a:pt x="446088" y="842225"/>
                    </a:cubicBezTo>
                    <a:cubicBezTo>
                      <a:pt x="446088" y="846477"/>
                      <a:pt x="449717" y="849312"/>
                      <a:pt x="453345" y="849312"/>
                    </a:cubicBezTo>
                    <a:cubicBezTo>
                      <a:pt x="453345" y="849312"/>
                      <a:pt x="453345" y="849312"/>
                      <a:pt x="489631" y="849312"/>
                    </a:cubicBezTo>
                    <a:cubicBezTo>
                      <a:pt x="493985" y="849312"/>
                      <a:pt x="496888" y="846477"/>
                      <a:pt x="496888" y="842225"/>
                    </a:cubicBezTo>
                    <a:cubicBezTo>
                      <a:pt x="496888" y="842225"/>
                      <a:pt x="496888" y="842225"/>
                      <a:pt x="496888" y="777024"/>
                    </a:cubicBezTo>
                    <a:cubicBezTo>
                      <a:pt x="496888" y="773481"/>
                      <a:pt x="493985" y="769937"/>
                      <a:pt x="489631" y="769937"/>
                    </a:cubicBezTo>
                    <a:cubicBezTo>
                      <a:pt x="489631" y="769937"/>
                      <a:pt x="489631" y="769937"/>
                      <a:pt x="453345" y="769937"/>
                    </a:cubicBezTo>
                    <a:close/>
                    <a:moveTo>
                      <a:pt x="362631" y="769937"/>
                    </a:moveTo>
                    <a:cubicBezTo>
                      <a:pt x="359115" y="769937"/>
                      <a:pt x="355600" y="773481"/>
                      <a:pt x="355600" y="777024"/>
                    </a:cubicBezTo>
                    <a:cubicBezTo>
                      <a:pt x="355600" y="777024"/>
                      <a:pt x="355600" y="777024"/>
                      <a:pt x="355600" y="842225"/>
                    </a:cubicBezTo>
                    <a:cubicBezTo>
                      <a:pt x="355600" y="846477"/>
                      <a:pt x="359115" y="849312"/>
                      <a:pt x="362631" y="849312"/>
                    </a:cubicBezTo>
                    <a:cubicBezTo>
                      <a:pt x="362631" y="849312"/>
                      <a:pt x="362631" y="849312"/>
                      <a:pt x="397783" y="849312"/>
                    </a:cubicBezTo>
                    <a:cubicBezTo>
                      <a:pt x="402001" y="849312"/>
                      <a:pt x="404813" y="846477"/>
                      <a:pt x="404813" y="842225"/>
                    </a:cubicBezTo>
                    <a:cubicBezTo>
                      <a:pt x="404813" y="842225"/>
                      <a:pt x="404813" y="842225"/>
                      <a:pt x="404813" y="777024"/>
                    </a:cubicBezTo>
                    <a:cubicBezTo>
                      <a:pt x="404813" y="773481"/>
                      <a:pt x="402001" y="769937"/>
                      <a:pt x="397783" y="769937"/>
                    </a:cubicBezTo>
                    <a:cubicBezTo>
                      <a:pt x="397783" y="769937"/>
                      <a:pt x="397783" y="769937"/>
                      <a:pt x="362631" y="769937"/>
                    </a:cubicBezTo>
                    <a:close/>
                    <a:moveTo>
                      <a:pt x="272246" y="769937"/>
                    </a:moveTo>
                    <a:cubicBezTo>
                      <a:pt x="268679" y="769937"/>
                      <a:pt x="265113" y="773481"/>
                      <a:pt x="265113" y="777024"/>
                    </a:cubicBezTo>
                    <a:cubicBezTo>
                      <a:pt x="265113" y="777024"/>
                      <a:pt x="265113" y="777024"/>
                      <a:pt x="265113" y="842225"/>
                    </a:cubicBezTo>
                    <a:cubicBezTo>
                      <a:pt x="265113" y="846477"/>
                      <a:pt x="268679" y="849312"/>
                      <a:pt x="272246" y="849312"/>
                    </a:cubicBezTo>
                    <a:cubicBezTo>
                      <a:pt x="272246" y="849312"/>
                      <a:pt x="272246" y="849312"/>
                      <a:pt x="307194" y="849312"/>
                    </a:cubicBezTo>
                    <a:cubicBezTo>
                      <a:pt x="311473" y="849312"/>
                      <a:pt x="314326" y="846477"/>
                      <a:pt x="314326" y="842225"/>
                    </a:cubicBezTo>
                    <a:cubicBezTo>
                      <a:pt x="314326" y="842225"/>
                      <a:pt x="314326" y="842225"/>
                      <a:pt x="314326" y="777024"/>
                    </a:cubicBezTo>
                    <a:cubicBezTo>
                      <a:pt x="314326" y="773481"/>
                      <a:pt x="311473" y="769937"/>
                      <a:pt x="307194" y="769937"/>
                    </a:cubicBezTo>
                    <a:cubicBezTo>
                      <a:pt x="307194" y="769937"/>
                      <a:pt x="307194" y="769937"/>
                      <a:pt x="272246" y="769937"/>
                    </a:cubicBezTo>
                    <a:close/>
                    <a:moveTo>
                      <a:pt x="181882" y="769937"/>
                    </a:moveTo>
                    <a:cubicBezTo>
                      <a:pt x="178254" y="769937"/>
                      <a:pt x="174625" y="773481"/>
                      <a:pt x="174625" y="777024"/>
                    </a:cubicBezTo>
                    <a:cubicBezTo>
                      <a:pt x="174625" y="777024"/>
                      <a:pt x="174625" y="777024"/>
                      <a:pt x="174625" y="842225"/>
                    </a:cubicBezTo>
                    <a:cubicBezTo>
                      <a:pt x="174625" y="846477"/>
                      <a:pt x="178254" y="849312"/>
                      <a:pt x="181882" y="849312"/>
                    </a:cubicBezTo>
                    <a:cubicBezTo>
                      <a:pt x="181882" y="849312"/>
                      <a:pt x="181882" y="849312"/>
                      <a:pt x="218168" y="849312"/>
                    </a:cubicBezTo>
                    <a:cubicBezTo>
                      <a:pt x="222522" y="849312"/>
                      <a:pt x="225425" y="846477"/>
                      <a:pt x="225425" y="842225"/>
                    </a:cubicBezTo>
                    <a:cubicBezTo>
                      <a:pt x="225425" y="842225"/>
                      <a:pt x="225425" y="842225"/>
                      <a:pt x="225425" y="777024"/>
                    </a:cubicBezTo>
                    <a:cubicBezTo>
                      <a:pt x="225425" y="773481"/>
                      <a:pt x="222522" y="769937"/>
                      <a:pt x="218168" y="769937"/>
                    </a:cubicBezTo>
                    <a:cubicBezTo>
                      <a:pt x="218168" y="769937"/>
                      <a:pt x="218168" y="769937"/>
                      <a:pt x="181882" y="769937"/>
                    </a:cubicBezTo>
                    <a:close/>
                    <a:moveTo>
                      <a:pt x="91395" y="769937"/>
                    </a:moveTo>
                    <a:cubicBezTo>
                      <a:pt x="87767" y="769937"/>
                      <a:pt x="84138" y="773481"/>
                      <a:pt x="84138" y="777024"/>
                    </a:cubicBezTo>
                    <a:cubicBezTo>
                      <a:pt x="84138" y="777024"/>
                      <a:pt x="84138" y="777024"/>
                      <a:pt x="84138" y="842225"/>
                    </a:cubicBezTo>
                    <a:cubicBezTo>
                      <a:pt x="84138" y="846477"/>
                      <a:pt x="87767" y="849312"/>
                      <a:pt x="91395" y="849312"/>
                    </a:cubicBezTo>
                    <a:cubicBezTo>
                      <a:pt x="91395" y="849312"/>
                      <a:pt x="91395" y="849312"/>
                      <a:pt x="127681" y="849312"/>
                    </a:cubicBezTo>
                    <a:cubicBezTo>
                      <a:pt x="132035" y="849312"/>
                      <a:pt x="134938" y="846477"/>
                      <a:pt x="134938" y="842225"/>
                    </a:cubicBezTo>
                    <a:cubicBezTo>
                      <a:pt x="134938" y="842225"/>
                      <a:pt x="134938" y="842225"/>
                      <a:pt x="134938" y="777024"/>
                    </a:cubicBezTo>
                    <a:cubicBezTo>
                      <a:pt x="134938" y="773481"/>
                      <a:pt x="132035" y="769937"/>
                      <a:pt x="127681" y="769937"/>
                    </a:cubicBezTo>
                    <a:cubicBezTo>
                      <a:pt x="127681" y="769937"/>
                      <a:pt x="127681" y="769937"/>
                      <a:pt x="91395" y="769937"/>
                    </a:cubicBezTo>
                    <a:close/>
                    <a:moveTo>
                      <a:pt x="958086" y="714375"/>
                    </a:moveTo>
                    <a:cubicBezTo>
                      <a:pt x="953782" y="714375"/>
                      <a:pt x="950913" y="717990"/>
                      <a:pt x="950913" y="721604"/>
                    </a:cubicBezTo>
                    <a:cubicBezTo>
                      <a:pt x="950913" y="721604"/>
                      <a:pt x="950913" y="721604"/>
                      <a:pt x="950913" y="788109"/>
                    </a:cubicBezTo>
                    <a:cubicBezTo>
                      <a:pt x="950913" y="792447"/>
                      <a:pt x="953782" y="795338"/>
                      <a:pt x="958086" y="795338"/>
                    </a:cubicBezTo>
                    <a:cubicBezTo>
                      <a:pt x="958086" y="795338"/>
                      <a:pt x="958086" y="795338"/>
                      <a:pt x="1062804" y="795338"/>
                    </a:cubicBezTo>
                    <a:cubicBezTo>
                      <a:pt x="1067107" y="795338"/>
                      <a:pt x="1069976" y="792447"/>
                      <a:pt x="1069976" y="788109"/>
                    </a:cubicBezTo>
                    <a:cubicBezTo>
                      <a:pt x="1069976" y="788109"/>
                      <a:pt x="1069976" y="788109"/>
                      <a:pt x="1069976" y="721604"/>
                    </a:cubicBezTo>
                    <a:cubicBezTo>
                      <a:pt x="1069976" y="717990"/>
                      <a:pt x="1067107" y="714375"/>
                      <a:pt x="1062804" y="714375"/>
                    </a:cubicBezTo>
                    <a:cubicBezTo>
                      <a:pt x="1062804" y="714375"/>
                      <a:pt x="1062804" y="714375"/>
                      <a:pt x="958086" y="714375"/>
                    </a:cubicBezTo>
                    <a:close/>
                    <a:moveTo>
                      <a:pt x="792890" y="714375"/>
                    </a:moveTo>
                    <a:cubicBezTo>
                      <a:pt x="788644" y="714375"/>
                      <a:pt x="785813" y="717990"/>
                      <a:pt x="785813" y="721604"/>
                    </a:cubicBezTo>
                    <a:cubicBezTo>
                      <a:pt x="785813" y="721604"/>
                      <a:pt x="785813" y="721604"/>
                      <a:pt x="785813" y="788109"/>
                    </a:cubicBezTo>
                    <a:cubicBezTo>
                      <a:pt x="785813" y="792447"/>
                      <a:pt x="788644" y="795338"/>
                      <a:pt x="792890" y="795338"/>
                    </a:cubicBezTo>
                    <a:cubicBezTo>
                      <a:pt x="792890" y="795338"/>
                      <a:pt x="792890" y="795338"/>
                      <a:pt x="896211" y="795338"/>
                    </a:cubicBezTo>
                    <a:cubicBezTo>
                      <a:pt x="899750" y="795338"/>
                      <a:pt x="903288" y="792447"/>
                      <a:pt x="903288" y="788109"/>
                    </a:cubicBezTo>
                    <a:cubicBezTo>
                      <a:pt x="903288" y="788109"/>
                      <a:pt x="903288" y="788109"/>
                      <a:pt x="903288" y="721604"/>
                    </a:cubicBezTo>
                    <a:cubicBezTo>
                      <a:pt x="903288" y="717990"/>
                      <a:pt x="899750" y="714375"/>
                      <a:pt x="896211" y="714375"/>
                    </a:cubicBezTo>
                    <a:cubicBezTo>
                      <a:pt x="896211" y="714375"/>
                      <a:pt x="896211" y="714375"/>
                      <a:pt x="792890" y="714375"/>
                    </a:cubicBezTo>
                    <a:close/>
                    <a:moveTo>
                      <a:pt x="453345" y="628650"/>
                    </a:moveTo>
                    <a:cubicBezTo>
                      <a:pt x="449717" y="628650"/>
                      <a:pt x="446088" y="631510"/>
                      <a:pt x="446088" y="635801"/>
                    </a:cubicBezTo>
                    <a:cubicBezTo>
                      <a:pt x="446088" y="635801"/>
                      <a:pt x="446088" y="635801"/>
                      <a:pt x="446088" y="700874"/>
                    </a:cubicBezTo>
                    <a:cubicBezTo>
                      <a:pt x="446088" y="704450"/>
                      <a:pt x="449717" y="708025"/>
                      <a:pt x="453345" y="708025"/>
                    </a:cubicBezTo>
                    <a:cubicBezTo>
                      <a:pt x="453345" y="708025"/>
                      <a:pt x="453345" y="708025"/>
                      <a:pt x="489631" y="708025"/>
                    </a:cubicBezTo>
                    <a:cubicBezTo>
                      <a:pt x="493985" y="708025"/>
                      <a:pt x="496888" y="704450"/>
                      <a:pt x="496888" y="700874"/>
                    </a:cubicBezTo>
                    <a:cubicBezTo>
                      <a:pt x="496888" y="700874"/>
                      <a:pt x="496888" y="700874"/>
                      <a:pt x="496888" y="635801"/>
                    </a:cubicBezTo>
                    <a:cubicBezTo>
                      <a:pt x="496888" y="631510"/>
                      <a:pt x="493985" y="628650"/>
                      <a:pt x="489631" y="628650"/>
                    </a:cubicBezTo>
                    <a:cubicBezTo>
                      <a:pt x="489631" y="628650"/>
                      <a:pt x="489631" y="628650"/>
                      <a:pt x="453345" y="628650"/>
                    </a:cubicBezTo>
                    <a:close/>
                    <a:moveTo>
                      <a:pt x="362631" y="628650"/>
                    </a:moveTo>
                    <a:cubicBezTo>
                      <a:pt x="359115" y="628650"/>
                      <a:pt x="355600" y="631510"/>
                      <a:pt x="355600" y="635801"/>
                    </a:cubicBezTo>
                    <a:cubicBezTo>
                      <a:pt x="355600" y="635801"/>
                      <a:pt x="355600" y="635801"/>
                      <a:pt x="355600" y="700874"/>
                    </a:cubicBezTo>
                    <a:cubicBezTo>
                      <a:pt x="355600" y="704450"/>
                      <a:pt x="359115" y="708025"/>
                      <a:pt x="362631" y="708025"/>
                    </a:cubicBezTo>
                    <a:cubicBezTo>
                      <a:pt x="362631" y="708025"/>
                      <a:pt x="362631" y="708025"/>
                      <a:pt x="397783" y="708025"/>
                    </a:cubicBezTo>
                    <a:cubicBezTo>
                      <a:pt x="402001" y="708025"/>
                      <a:pt x="404813" y="704450"/>
                      <a:pt x="404813" y="700874"/>
                    </a:cubicBezTo>
                    <a:cubicBezTo>
                      <a:pt x="404813" y="700874"/>
                      <a:pt x="404813" y="700874"/>
                      <a:pt x="404813" y="635801"/>
                    </a:cubicBezTo>
                    <a:cubicBezTo>
                      <a:pt x="404813" y="631510"/>
                      <a:pt x="402001" y="628650"/>
                      <a:pt x="397783" y="628650"/>
                    </a:cubicBezTo>
                    <a:cubicBezTo>
                      <a:pt x="397783" y="628650"/>
                      <a:pt x="397783" y="628650"/>
                      <a:pt x="362631" y="628650"/>
                    </a:cubicBezTo>
                    <a:close/>
                    <a:moveTo>
                      <a:pt x="272246" y="628650"/>
                    </a:moveTo>
                    <a:cubicBezTo>
                      <a:pt x="268679" y="628650"/>
                      <a:pt x="265113" y="631510"/>
                      <a:pt x="265113" y="635801"/>
                    </a:cubicBezTo>
                    <a:cubicBezTo>
                      <a:pt x="265113" y="635801"/>
                      <a:pt x="265113" y="635801"/>
                      <a:pt x="265113" y="700874"/>
                    </a:cubicBezTo>
                    <a:cubicBezTo>
                      <a:pt x="265113" y="704450"/>
                      <a:pt x="268679" y="708025"/>
                      <a:pt x="272246" y="708025"/>
                    </a:cubicBezTo>
                    <a:cubicBezTo>
                      <a:pt x="272246" y="708025"/>
                      <a:pt x="272246" y="708025"/>
                      <a:pt x="307194" y="708025"/>
                    </a:cubicBezTo>
                    <a:cubicBezTo>
                      <a:pt x="311473" y="708025"/>
                      <a:pt x="314326" y="704450"/>
                      <a:pt x="314326" y="700874"/>
                    </a:cubicBezTo>
                    <a:cubicBezTo>
                      <a:pt x="314326" y="700874"/>
                      <a:pt x="314326" y="700874"/>
                      <a:pt x="314326" y="635801"/>
                    </a:cubicBezTo>
                    <a:cubicBezTo>
                      <a:pt x="314326" y="631510"/>
                      <a:pt x="311473" y="628650"/>
                      <a:pt x="307194" y="628650"/>
                    </a:cubicBezTo>
                    <a:cubicBezTo>
                      <a:pt x="307194" y="628650"/>
                      <a:pt x="307194" y="628650"/>
                      <a:pt x="272246" y="628650"/>
                    </a:cubicBezTo>
                    <a:close/>
                    <a:moveTo>
                      <a:pt x="181882" y="628650"/>
                    </a:moveTo>
                    <a:cubicBezTo>
                      <a:pt x="178254" y="628650"/>
                      <a:pt x="174625" y="631510"/>
                      <a:pt x="174625" y="635801"/>
                    </a:cubicBezTo>
                    <a:cubicBezTo>
                      <a:pt x="174625" y="635801"/>
                      <a:pt x="174625" y="635801"/>
                      <a:pt x="174625" y="700874"/>
                    </a:cubicBezTo>
                    <a:cubicBezTo>
                      <a:pt x="174625" y="704450"/>
                      <a:pt x="178254" y="708025"/>
                      <a:pt x="181882" y="708025"/>
                    </a:cubicBezTo>
                    <a:cubicBezTo>
                      <a:pt x="181882" y="708025"/>
                      <a:pt x="181882" y="708025"/>
                      <a:pt x="218168" y="708025"/>
                    </a:cubicBezTo>
                    <a:cubicBezTo>
                      <a:pt x="222522" y="708025"/>
                      <a:pt x="225425" y="704450"/>
                      <a:pt x="225425" y="700874"/>
                    </a:cubicBezTo>
                    <a:cubicBezTo>
                      <a:pt x="225425" y="700874"/>
                      <a:pt x="225425" y="700874"/>
                      <a:pt x="225425" y="635801"/>
                    </a:cubicBezTo>
                    <a:cubicBezTo>
                      <a:pt x="225425" y="631510"/>
                      <a:pt x="222522" y="628650"/>
                      <a:pt x="218168" y="628650"/>
                    </a:cubicBezTo>
                    <a:cubicBezTo>
                      <a:pt x="218168" y="628650"/>
                      <a:pt x="218168" y="628650"/>
                      <a:pt x="181882" y="628650"/>
                    </a:cubicBezTo>
                    <a:close/>
                    <a:moveTo>
                      <a:pt x="958086" y="596900"/>
                    </a:moveTo>
                    <a:cubicBezTo>
                      <a:pt x="953782" y="596900"/>
                      <a:pt x="950913" y="600444"/>
                      <a:pt x="950913" y="603987"/>
                    </a:cubicBezTo>
                    <a:cubicBezTo>
                      <a:pt x="950913" y="603987"/>
                      <a:pt x="950913" y="603987"/>
                      <a:pt x="950913" y="669188"/>
                    </a:cubicBezTo>
                    <a:cubicBezTo>
                      <a:pt x="950913" y="673440"/>
                      <a:pt x="953782" y="676275"/>
                      <a:pt x="958086" y="676275"/>
                    </a:cubicBezTo>
                    <a:cubicBezTo>
                      <a:pt x="958086" y="676275"/>
                      <a:pt x="958086" y="676275"/>
                      <a:pt x="1062804" y="676275"/>
                    </a:cubicBezTo>
                    <a:cubicBezTo>
                      <a:pt x="1067107" y="676275"/>
                      <a:pt x="1069976" y="673440"/>
                      <a:pt x="1069976" y="669188"/>
                    </a:cubicBezTo>
                    <a:cubicBezTo>
                      <a:pt x="1069976" y="669188"/>
                      <a:pt x="1069976" y="669188"/>
                      <a:pt x="1069976" y="603987"/>
                    </a:cubicBezTo>
                    <a:cubicBezTo>
                      <a:pt x="1069976" y="600444"/>
                      <a:pt x="1067107" y="596900"/>
                      <a:pt x="1062804" y="596900"/>
                    </a:cubicBezTo>
                    <a:cubicBezTo>
                      <a:pt x="1062804" y="596900"/>
                      <a:pt x="1062804" y="596900"/>
                      <a:pt x="958086" y="596900"/>
                    </a:cubicBezTo>
                    <a:close/>
                    <a:moveTo>
                      <a:pt x="792890" y="596900"/>
                    </a:moveTo>
                    <a:cubicBezTo>
                      <a:pt x="788644" y="596900"/>
                      <a:pt x="785813" y="600444"/>
                      <a:pt x="785813" y="603987"/>
                    </a:cubicBezTo>
                    <a:cubicBezTo>
                      <a:pt x="785813" y="603987"/>
                      <a:pt x="785813" y="603987"/>
                      <a:pt x="785813" y="669188"/>
                    </a:cubicBezTo>
                    <a:cubicBezTo>
                      <a:pt x="785813" y="673440"/>
                      <a:pt x="788644" y="676275"/>
                      <a:pt x="792890" y="676275"/>
                    </a:cubicBezTo>
                    <a:cubicBezTo>
                      <a:pt x="792890" y="676275"/>
                      <a:pt x="792890" y="676275"/>
                      <a:pt x="896211" y="676275"/>
                    </a:cubicBezTo>
                    <a:cubicBezTo>
                      <a:pt x="899750" y="676275"/>
                      <a:pt x="903288" y="673440"/>
                      <a:pt x="903288" y="669188"/>
                    </a:cubicBezTo>
                    <a:cubicBezTo>
                      <a:pt x="903288" y="669188"/>
                      <a:pt x="903288" y="669188"/>
                      <a:pt x="903288" y="603987"/>
                    </a:cubicBezTo>
                    <a:cubicBezTo>
                      <a:pt x="903288" y="600444"/>
                      <a:pt x="899750" y="596900"/>
                      <a:pt x="896211" y="596900"/>
                    </a:cubicBezTo>
                    <a:cubicBezTo>
                      <a:pt x="896211" y="596900"/>
                      <a:pt x="896211" y="596900"/>
                      <a:pt x="792890" y="596900"/>
                    </a:cubicBezTo>
                    <a:close/>
                    <a:moveTo>
                      <a:pt x="453345" y="487362"/>
                    </a:moveTo>
                    <a:cubicBezTo>
                      <a:pt x="449717" y="487362"/>
                      <a:pt x="446088" y="490938"/>
                      <a:pt x="446088" y="494513"/>
                    </a:cubicBezTo>
                    <a:cubicBezTo>
                      <a:pt x="446088" y="494513"/>
                      <a:pt x="446088" y="494513"/>
                      <a:pt x="446088" y="559586"/>
                    </a:cubicBezTo>
                    <a:cubicBezTo>
                      <a:pt x="446088" y="563877"/>
                      <a:pt x="449717" y="566737"/>
                      <a:pt x="453345" y="566737"/>
                    </a:cubicBezTo>
                    <a:cubicBezTo>
                      <a:pt x="453345" y="566737"/>
                      <a:pt x="453345" y="566737"/>
                      <a:pt x="489631" y="566737"/>
                    </a:cubicBezTo>
                    <a:cubicBezTo>
                      <a:pt x="493985" y="566737"/>
                      <a:pt x="496888" y="563877"/>
                      <a:pt x="496888" y="559586"/>
                    </a:cubicBezTo>
                    <a:cubicBezTo>
                      <a:pt x="496888" y="559586"/>
                      <a:pt x="496888" y="559586"/>
                      <a:pt x="496888" y="494513"/>
                    </a:cubicBezTo>
                    <a:cubicBezTo>
                      <a:pt x="496888" y="490938"/>
                      <a:pt x="493985" y="487362"/>
                      <a:pt x="489631" y="487362"/>
                    </a:cubicBezTo>
                    <a:cubicBezTo>
                      <a:pt x="489631" y="487362"/>
                      <a:pt x="489631" y="487362"/>
                      <a:pt x="453345" y="487362"/>
                    </a:cubicBezTo>
                    <a:close/>
                    <a:moveTo>
                      <a:pt x="362631" y="487362"/>
                    </a:moveTo>
                    <a:cubicBezTo>
                      <a:pt x="359115" y="487362"/>
                      <a:pt x="355600" y="490938"/>
                      <a:pt x="355600" y="494513"/>
                    </a:cubicBezTo>
                    <a:cubicBezTo>
                      <a:pt x="355600" y="494513"/>
                      <a:pt x="355600" y="494513"/>
                      <a:pt x="355600" y="559586"/>
                    </a:cubicBezTo>
                    <a:cubicBezTo>
                      <a:pt x="355600" y="563877"/>
                      <a:pt x="359115" y="566737"/>
                      <a:pt x="362631" y="566737"/>
                    </a:cubicBezTo>
                    <a:cubicBezTo>
                      <a:pt x="362631" y="566737"/>
                      <a:pt x="362631" y="566737"/>
                      <a:pt x="397783" y="566737"/>
                    </a:cubicBezTo>
                    <a:cubicBezTo>
                      <a:pt x="402001" y="566737"/>
                      <a:pt x="404813" y="563877"/>
                      <a:pt x="404813" y="559586"/>
                    </a:cubicBezTo>
                    <a:cubicBezTo>
                      <a:pt x="404813" y="559586"/>
                      <a:pt x="404813" y="559586"/>
                      <a:pt x="404813" y="494513"/>
                    </a:cubicBezTo>
                    <a:cubicBezTo>
                      <a:pt x="404813" y="490938"/>
                      <a:pt x="402001" y="487362"/>
                      <a:pt x="397783" y="487362"/>
                    </a:cubicBezTo>
                    <a:cubicBezTo>
                      <a:pt x="397783" y="487362"/>
                      <a:pt x="397783" y="487362"/>
                      <a:pt x="362631" y="487362"/>
                    </a:cubicBezTo>
                    <a:close/>
                    <a:moveTo>
                      <a:pt x="272246" y="487362"/>
                    </a:moveTo>
                    <a:cubicBezTo>
                      <a:pt x="268679" y="487362"/>
                      <a:pt x="265113" y="490938"/>
                      <a:pt x="265113" y="494513"/>
                    </a:cubicBezTo>
                    <a:cubicBezTo>
                      <a:pt x="265113" y="494513"/>
                      <a:pt x="265113" y="494513"/>
                      <a:pt x="265113" y="559586"/>
                    </a:cubicBezTo>
                    <a:cubicBezTo>
                      <a:pt x="265113" y="563877"/>
                      <a:pt x="268679" y="566737"/>
                      <a:pt x="272246" y="566737"/>
                    </a:cubicBezTo>
                    <a:cubicBezTo>
                      <a:pt x="272246" y="566737"/>
                      <a:pt x="272246" y="566737"/>
                      <a:pt x="307194" y="566737"/>
                    </a:cubicBezTo>
                    <a:cubicBezTo>
                      <a:pt x="311473" y="566737"/>
                      <a:pt x="314326" y="563877"/>
                      <a:pt x="314326" y="559586"/>
                    </a:cubicBezTo>
                    <a:cubicBezTo>
                      <a:pt x="314326" y="559586"/>
                      <a:pt x="314326" y="559586"/>
                      <a:pt x="314326" y="494513"/>
                    </a:cubicBezTo>
                    <a:cubicBezTo>
                      <a:pt x="314326" y="490938"/>
                      <a:pt x="311473" y="487362"/>
                      <a:pt x="307194" y="487362"/>
                    </a:cubicBezTo>
                    <a:cubicBezTo>
                      <a:pt x="307194" y="487362"/>
                      <a:pt x="307194" y="487362"/>
                      <a:pt x="272246" y="487362"/>
                    </a:cubicBezTo>
                    <a:close/>
                    <a:moveTo>
                      <a:pt x="958086" y="477837"/>
                    </a:moveTo>
                    <a:cubicBezTo>
                      <a:pt x="953782" y="477837"/>
                      <a:pt x="950913" y="481381"/>
                      <a:pt x="950913" y="484924"/>
                    </a:cubicBezTo>
                    <a:cubicBezTo>
                      <a:pt x="950913" y="484924"/>
                      <a:pt x="950913" y="484924"/>
                      <a:pt x="950913" y="550125"/>
                    </a:cubicBezTo>
                    <a:cubicBezTo>
                      <a:pt x="950913" y="554377"/>
                      <a:pt x="953782" y="557212"/>
                      <a:pt x="958086" y="557212"/>
                    </a:cubicBezTo>
                    <a:cubicBezTo>
                      <a:pt x="958086" y="557212"/>
                      <a:pt x="958086" y="557212"/>
                      <a:pt x="1062804" y="557212"/>
                    </a:cubicBezTo>
                    <a:cubicBezTo>
                      <a:pt x="1067107" y="557212"/>
                      <a:pt x="1069976" y="554377"/>
                      <a:pt x="1069976" y="550125"/>
                    </a:cubicBezTo>
                    <a:cubicBezTo>
                      <a:pt x="1069976" y="550125"/>
                      <a:pt x="1069976" y="550125"/>
                      <a:pt x="1069976" y="484924"/>
                    </a:cubicBezTo>
                    <a:cubicBezTo>
                      <a:pt x="1069976" y="481381"/>
                      <a:pt x="1067107" y="477837"/>
                      <a:pt x="1062804" y="477837"/>
                    </a:cubicBezTo>
                    <a:cubicBezTo>
                      <a:pt x="1062804" y="477837"/>
                      <a:pt x="1062804" y="477837"/>
                      <a:pt x="958086" y="477837"/>
                    </a:cubicBezTo>
                    <a:close/>
                    <a:moveTo>
                      <a:pt x="792890" y="477837"/>
                    </a:moveTo>
                    <a:cubicBezTo>
                      <a:pt x="788644" y="477837"/>
                      <a:pt x="785813" y="481381"/>
                      <a:pt x="785813" y="484924"/>
                    </a:cubicBezTo>
                    <a:cubicBezTo>
                      <a:pt x="785813" y="484924"/>
                      <a:pt x="785813" y="484924"/>
                      <a:pt x="785813" y="550125"/>
                    </a:cubicBezTo>
                    <a:cubicBezTo>
                      <a:pt x="785813" y="554377"/>
                      <a:pt x="788644" y="557212"/>
                      <a:pt x="792890" y="557212"/>
                    </a:cubicBezTo>
                    <a:cubicBezTo>
                      <a:pt x="792890" y="557212"/>
                      <a:pt x="792890" y="557212"/>
                      <a:pt x="896211" y="557212"/>
                    </a:cubicBezTo>
                    <a:cubicBezTo>
                      <a:pt x="899750" y="557212"/>
                      <a:pt x="903288" y="554377"/>
                      <a:pt x="903288" y="550125"/>
                    </a:cubicBezTo>
                    <a:cubicBezTo>
                      <a:pt x="903288" y="550125"/>
                      <a:pt x="903288" y="550125"/>
                      <a:pt x="903288" y="484924"/>
                    </a:cubicBezTo>
                    <a:cubicBezTo>
                      <a:pt x="903288" y="481381"/>
                      <a:pt x="899750" y="477837"/>
                      <a:pt x="896211" y="477837"/>
                    </a:cubicBezTo>
                    <a:cubicBezTo>
                      <a:pt x="896211" y="477837"/>
                      <a:pt x="896211" y="477837"/>
                      <a:pt x="792890" y="477837"/>
                    </a:cubicBezTo>
                    <a:close/>
                    <a:moveTo>
                      <a:pt x="958086" y="358775"/>
                    </a:moveTo>
                    <a:cubicBezTo>
                      <a:pt x="953782" y="358775"/>
                      <a:pt x="950913" y="362390"/>
                      <a:pt x="950913" y="366004"/>
                    </a:cubicBezTo>
                    <a:cubicBezTo>
                      <a:pt x="950913" y="366004"/>
                      <a:pt x="950913" y="366004"/>
                      <a:pt x="950913" y="432509"/>
                    </a:cubicBezTo>
                    <a:cubicBezTo>
                      <a:pt x="950913" y="436847"/>
                      <a:pt x="953782" y="439738"/>
                      <a:pt x="958086" y="439738"/>
                    </a:cubicBezTo>
                    <a:cubicBezTo>
                      <a:pt x="958086" y="439738"/>
                      <a:pt x="958086" y="439738"/>
                      <a:pt x="1062804" y="439738"/>
                    </a:cubicBezTo>
                    <a:cubicBezTo>
                      <a:pt x="1067107" y="439738"/>
                      <a:pt x="1069976" y="436847"/>
                      <a:pt x="1069976" y="432509"/>
                    </a:cubicBezTo>
                    <a:cubicBezTo>
                      <a:pt x="1069976" y="432509"/>
                      <a:pt x="1069976" y="432509"/>
                      <a:pt x="1069976" y="366004"/>
                    </a:cubicBezTo>
                    <a:cubicBezTo>
                      <a:pt x="1069976" y="362390"/>
                      <a:pt x="1067107" y="358775"/>
                      <a:pt x="1062804" y="358775"/>
                    </a:cubicBezTo>
                    <a:cubicBezTo>
                      <a:pt x="1062804" y="358775"/>
                      <a:pt x="1062804" y="358775"/>
                      <a:pt x="958086" y="358775"/>
                    </a:cubicBezTo>
                    <a:close/>
                    <a:moveTo>
                      <a:pt x="792890" y="358775"/>
                    </a:moveTo>
                    <a:cubicBezTo>
                      <a:pt x="788644" y="358775"/>
                      <a:pt x="785813" y="362390"/>
                      <a:pt x="785813" y="366004"/>
                    </a:cubicBezTo>
                    <a:cubicBezTo>
                      <a:pt x="785813" y="366004"/>
                      <a:pt x="785813" y="366004"/>
                      <a:pt x="785813" y="432509"/>
                    </a:cubicBezTo>
                    <a:cubicBezTo>
                      <a:pt x="785813" y="436847"/>
                      <a:pt x="788644" y="439738"/>
                      <a:pt x="792890" y="439738"/>
                    </a:cubicBezTo>
                    <a:cubicBezTo>
                      <a:pt x="792890" y="439738"/>
                      <a:pt x="792890" y="439738"/>
                      <a:pt x="896211" y="439738"/>
                    </a:cubicBezTo>
                    <a:cubicBezTo>
                      <a:pt x="899750" y="439738"/>
                      <a:pt x="903288" y="436847"/>
                      <a:pt x="903288" y="432509"/>
                    </a:cubicBezTo>
                    <a:cubicBezTo>
                      <a:pt x="903288" y="432509"/>
                      <a:pt x="903288" y="432509"/>
                      <a:pt x="903288" y="366004"/>
                    </a:cubicBezTo>
                    <a:cubicBezTo>
                      <a:pt x="903288" y="362390"/>
                      <a:pt x="899750" y="358775"/>
                      <a:pt x="896211" y="358775"/>
                    </a:cubicBezTo>
                    <a:cubicBezTo>
                      <a:pt x="896211" y="358775"/>
                      <a:pt x="896211" y="358775"/>
                      <a:pt x="792890" y="358775"/>
                    </a:cubicBezTo>
                    <a:close/>
                    <a:moveTo>
                      <a:pt x="453345" y="346075"/>
                    </a:moveTo>
                    <a:cubicBezTo>
                      <a:pt x="449717" y="346075"/>
                      <a:pt x="446088" y="348967"/>
                      <a:pt x="446088" y="353304"/>
                    </a:cubicBezTo>
                    <a:cubicBezTo>
                      <a:pt x="446088" y="353304"/>
                      <a:pt x="446088" y="353304"/>
                      <a:pt x="446088" y="419809"/>
                    </a:cubicBezTo>
                    <a:cubicBezTo>
                      <a:pt x="446088" y="423424"/>
                      <a:pt x="449717" y="427038"/>
                      <a:pt x="453345" y="427038"/>
                    </a:cubicBezTo>
                    <a:cubicBezTo>
                      <a:pt x="453345" y="427038"/>
                      <a:pt x="453345" y="427038"/>
                      <a:pt x="489631" y="427038"/>
                    </a:cubicBezTo>
                    <a:cubicBezTo>
                      <a:pt x="493985" y="427038"/>
                      <a:pt x="496888" y="423424"/>
                      <a:pt x="496888" y="419809"/>
                    </a:cubicBezTo>
                    <a:cubicBezTo>
                      <a:pt x="496888" y="419809"/>
                      <a:pt x="496888" y="419809"/>
                      <a:pt x="496888" y="353304"/>
                    </a:cubicBezTo>
                    <a:cubicBezTo>
                      <a:pt x="496888" y="348967"/>
                      <a:pt x="493985" y="346075"/>
                      <a:pt x="489631" y="346075"/>
                    </a:cubicBezTo>
                    <a:cubicBezTo>
                      <a:pt x="489631" y="346075"/>
                      <a:pt x="489631" y="346075"/>
                      <a:pt x="453345" y="346075"/>
                    </a:cubicBezTo>
                    <a:close/>
                    <a:moveTo>
                      <a:pt x="362631" y="346075"/>
                    </a:moveTo>
                    <a:cubicBezTo>
                      <a:pt x="359115" y="346075"/>
                      <a:pt x="355600" y="348967"/>
                      <a:pt x="355600" y="353304"/>
                    </a:cubicBezTo>
                    <a:cubicBezTo>
                      <a:pt x="355600" y="353304"/>
                      <a:pt x="355600" y="353304"/>
                      <a:pt x="355600" y="419809"/>
                    </a:cubicBezTo>
                    <a:cubicBezTo>
                      <a:pt x="355600" y="423424"/>
                      <a:pt x="359115" y="427038"/>
                      <a:pt x="362631" y="427038"/>
                    </a:cubicBezTo>
                    <a:cubicBezTo>
                      <a:pt x="362631" y="427038"/>
                      <a:pt x="362631" y="427038"/>
                      <a:pt x="397783" y="427038"/>
                    </a:cubicBezTo>
                    <a:cubicBezTo>
                      <a:pt x="402001" y="427038"/>
                      <a:pt x="404813" y="423424"/>
                      <a:pt x="404813" y="419809"/>
                    </a:cubicBezTo>
                    <a:cubicBezTo>
                      <a:pt x="404813" y="419809"/>
                      <a:pt x="404813" y="419809"/>
                      <a:pt x="404813" y="353304"/>
                    </a:cubicBezTo>
                    <a:cubicBezTo>
                      <a:pt x="404813" y="348967"/>
                      <a:pt x="402001" y="346075"/>
                      <a:pt x="397783" y="346075"/>
                    </a:cubicBezTo>
                    <a:cubicBezTo>
                      <a:pt x="397783" y="346075"/>
                      <a:pt x="397783" y="346075"/>
                      <a:pt x="362631" y="346075"/>
                    </a:cubicBezTo>
                    <a:close/>
                    <a:moveTo>
                      <a:pt x="285558" y="266700"/>
                    </a:moveTo>
                    <a:cubicBezTo>
                      <a:pt x="285558" y="266700"/>
                      <a:pt x="285558" y="266700"/>
                      <a:pt x="573258" y="266700"/>
                    </a:cubicBezTo>
                    <a:cubicBezTo>
                      <a:pt x="581824" y="266700"/>
                      <a:pt x="588963" y="273836"/>
                      <a:pt x="588963" y="282398"/>
                    </a:cubicBezTo>
                    <a:cubicBezTo>
                      <a:pt x="588963" y="282398"/>
                      <a:pt x="588963" y="282398"/>
                      <a:pt x="588963" y="858229"/>
                    </a:cubicBezTo>
                    <a:cubicBezTo>
                      <a:pt x="581110" y="858943"/>
                      <a:pt x="573971" y="860370"/>
                      <a:pt x="566832" y="861084"/>
                    </a:cubicBezTo>
                    <a:cubicBezTo>
                      <a:pt x="541846" y="863938"/>
                      <a:pt x="516146" y="868933"/>
                      <a:pt x="491160" y="874641"/>
                    </a:cubicBezTo>
                    <a:cubicBezTo>
                      <a:pt x="425481" y="891053"/>
                      <a:pt x="363373" y="916027"/>
                      <a:pt x="305547" y="950277"/>
                    </a:cubicBezTo>
                    <a:cubicBezTo>
                      <a:pt x="299122" y="953845"/>
                      <a:pt x="291983" y="958126"/>
                      <a:pt x="285558" y="962407"/>
                    </a:cubicBezTo>
                    <a:cubicBezTo>
                      <a:pt x="284844" y="961694"/>
                      <a:pt x="284130" y="960267"/>
                      <a:pt x="284130" y="958839"/>
                    </a:cubicBezTo>
                    <a:cubicBezTo>
                      <a:pt x="276991" y="941714"/>
                      <a:pt x="259858" y="930298"/>
                      <a:pt x="240583" y="930298"/>
                    </a:cubicBezTo>
                    <a:cubicBezTo>
                      <a:pt x="240583" y="930298"/>
                      <a:pt x="240583" y="930298"/>
                      <a:pt x="185613" y="930298"/>
                    </a:cubicBezTo>
                    <a:cubicBezTo>
                      <a:pt x="161340" y="930298"/>
                      <a:pt x="140637" y="948850"/>
                      <a:pt x="138496" y="973110"/>
                    </a:cubicBezTo>
                    <a:cubicBezTo>
                      <a:pt x="138496" y="973110"/>
                      <a:pt x="138496" y="973110"/>
                      <a:pt x="107084" y="1290638"/>
                    </a:cubicBezTo>
                    <a:cubicBezTo>
                      <a:pt x="107084" y="1290638"/>
                      <a:pt x="107084" y="1290638"/>
                      <a:pt x="31412" y="1290638"/>
                    </a:cubicBezTo>
                    <a:cubicBezTo>
                      <a:pt x="31412" y="1290638"/>
                      <a:pt x="31412" y="1290638"/>
                      <a:pt x="15706" y="1290638"/>
                    </a:cubicBezTo>
                    <a:cubicBezTo>
                      <a:pt x="15706" y="1290638"/>
                      <a:pt x="15706" y="1290638"/>
                      <a:pt x="0" y="1290638"/>
                    </a:cubicBezTo>
                    <a:cubicBezTo>
                      <a:pt x="0" y="1290638"/>
                      <a:pt x="0" y="1290638"/>
                      <a:pt x="0" y="788302"/>
                    </a:cubicBezTo>
                    <a:cubicBezTo>
                      <a:pt x="0" y="785448"/>
                      <a:pt x="714" y="782594"/>
                      <a:pt x="2142" y="780453"/>
                    </a:cubicBezTo>
                    <a:cubicBezTo>
                      <a:pt x="2142" y="780453"/>
                      <a:pt x="2142" y="780453"/>
                      <a:pt x="269852" y="343763"/>
                    </a:cubicBezTo>
                    <a:cubicBezTo>
                      <a:pt x="269852" y="343763"/>
                      <a:pt x="269852" y="343763"/>
                      <a:pt x="269852" y="282398"/>
                    </a:cubicBezTo>
                    <a:cubicBezTo>
                      <a:pt x="269852" y="273836"/>
                      <a:pt x="276991" y="266700"/>
                      <a:pt x="285558" y="266700"/>
                    </a:cubicBezTo>
                    <a:close/>
                    <a:moveTo>
                      <a:pt x="958086" y="241300"/>
                    </a:moveTo>
                    <a:cubicBezTo>
                      <a:pt x="953782" y="241300"/>
                      <a:pt x="950913" y="244844"/>
                      <a:pt x="950913" y="248387"/>
                    </a:cubicBezTo>
                    <a:cubicBezTo>
                      <a:pt x="950913" y="248387"/>
                      <a:pt x="950913" y="248387"/>
                      <a:pt x="950913" y="313588"/>
                    </a:cubicBezTo>
                    <a:cubicBezTo>
                      <a:pt x="950913" y="317840"/>
                      <a:pt x="953782" y="320675"/>
                      <a:pt x="958086" y="320675"/>
                    </a:cubicBezTo>
                    <a:cubicBezTo>
                      <a:pt x="958086" y="320675"/>
                      <a:pt x="958086" y="320675"/>
                      <a:pt x="1062804" y="320675"/>
                    </a:cubicBezTo>
                    <a:cubicBezTo>
                      <a:pt x="1067107" y="320675"/>
                      <a:pt x="1069976" y="317840"/>
                      <a:pt x="1069976" y="313588"/>
                    </a:cubicBezTo>
                    <a:cubicBezTo>
                      <a:pt x="1069976" y="313588"/>
                      <a:pt x="1069976" y="313588"/>
                      <a:pt x="1069976" y="248387"/>
                    </a:cubicBezTo>
                    <a:cubicBezTo>
                      <a:pt x="1069976" y="244844"/>
                      <a:pt x="1067107" y="241300"/>
                      <a:pt x="1062804" y="241300"/>
                    </a:cubicBezTo>
                    <a:cubicBezTo>
                      <a:pt x="1062804" y="241300"/>
                      <a:pt x="1062804" y="241300"/>
                      <a:pt x="958086" y="241300"/>
                    </a:cubicBezTo>
                    <a:close/>
                    <a:moveTo>
                      <a:pt x="792890" y="241300"/>
                    </a:moveTo>
                    <a:cubicBezTo>
                      <a:pt x="788644" y="241300"/>
                      <a:pt x="785813" y="244844"/>
                      <a:pt x="785813" y="248387"/>
                    </a:cubicBezTo>
                    <a:cubicBezTo>
                      <a:pt x="785813" y="248387"/>
                      <a:pt x="785813" y="248387"/>
                      <a:pt x="785813" y="313588"/>
                    </a:cubicBezTo>
                    <a:cubicBezTo>
                      <a:pt x="785813" y="317840"/>
                      <a:pt x="788644" y="320675"/>
                      <a:pt x="792890" y="320675"/>
                    </a:cubicBezTo>
                    <a:cubicBezTo>
                      <a:pt x="792890" y="320675"/>
                      <a:pt x="792890" y="320675"/>
                      <a:pt x="896211" y="320675"/>
                    </a:cubicBezTo>
                    <a:cubicBezTo>
                      <a:pt x="899750" y="320675"/>
                      <a:pt x="903288" y="317840"/>
                      <a:pt x="903288" y="313588"/>
                    </a:cubicBezTo>
                    <a:cubicBezTo>
                      <a:pt x="903288" y="313588"/>
                      <a:pt x="903288" y="313588"/>
                      <a:pt x="903288" y="248387"/>
                    </a:cubicBezTo>
                    <a:cubicBezTo>
                      <a:pt x="903288" y="244844"/>
                      <a:pt x="899750" y="241300"/>
                      <a:pt x="896211" y="241300"/>
                    </a:cubicBezTo>
                    <a:cubicBezTo>
                      <a:pt x="896211" y="241300"/>
                      <a:pt x="896211" y="241300"/>
                      <a:pt x="792890" y="241300"/>
                    </a:cubicBezTo>
                    <a:close/>
                    <a:moveTo>
                      <a:pt x="927458" y="0"/>
                    </a:moveTo>
                    <a:cubicBezTo>
                      <a:pt x="936038" y="0"/>
                      <a:pt x="943189" y="7133"/>
                      <a:pt x="943189" y="15692"/>
                    </a:cubicBezTo>
                    <a:cubicBezTo>
                      <a:pt x="943189" y="15692"/>
                      <a:pt x="943189" y="15692"/>
                      <a:pt x="943189" y="108416"/>
                    </a:cubicBezTo>
                    <a:cubicBezTo>
                      <a:pt x="943189" y="108416"/>
                      <a:pt x="943189" y="108416"/>
                      <a:pt x="1081192" y="108416"/>
                    </a:cubicBezTo>
                    <a:cubicBezTo>
                      <a:pt x="1089772" y="108416"/>
                      <a:pt x="1096923" y="115548"/>
                      <a:pt x="1096923" y="124107"/>
                    </a:cubicBezTo>
                    <a:cubicBezTo>
                      <a:pt x="1096923" y="124107"/>
                      <a:pt x="1096923" y="124107"/>
                      <a:pt x="1096923" y="169043"/>
                    </a:cubicBezTo>
                    <a:cubicBezTo>
                      <a:pt x="1096923" y="169043"/>
                      <a:pt x="1096923" y="169043"/>
                      <a:pt x="1124809" y="169043"/>
                    </a:cubicBezTo>
                    <a:cubicBezTo>
                      <a:pt x="1132675" y="169043"/>
                      <a:pt x="1139825" y="176175"/>
                      <a:pt x="1139825" y="184734"/>
                    </a:cubicBezTo>
                    <a:cubicBezTo>
                      <a:pt x="1139825" y="184734"/>
                      <a:pt x="1139825" y="184734"/>
                      <a:pt x="1139825" y="933656"/>
                    </a:cubicBezTo>
                    <a:cubicBezTo>
                      <a:pt x="1135535" y="932230"/>
                      <a:pt x="1131960" y="931516"/>
                      <a:pt x="1126954" y="931516"/>
                    </a:cubicBezTo>
                    <a:cubicBezTo>
                      <a:pt x="1126954" y="931516"/>
                      <a:pt x="1126954" y="931516"/>
                      <a:pt x="1124809" y="931516"/>
                    </a:cubicBezTo>
                    <a:cubicBezTo>
                      <a:pt x="1124809" y="931516"/>
                      <a:pt x="1124809" y="931516"/>
                      <a:pt x="1109078" y="931516"/>
                    </a:cubicBezTo>
                    <a:cubicBezTo>
                      <a:pt x="1109078" y="931516"/>
                      <a:pt x="1109078" y="931516"/>
                      <a:pt x="1071896" y="931516"/>
                    </a:cubicBezTo>
                    <a:cubicBezTo>
                      <a:pt x="1051160" y="931516"/>
                      <a:pt x="1033284" y="945068"/>
                      <a:pt x="1026849" y="963613"/>
                    </a:cubicBezTo>
                    <a:cubicBezTo>
                      <a:pt x="988236" y="938649"/>
                      <a:pt x="946764" y="917965"/>
                      <a:pt x="903861" y="901560"/>
                    </a:cubicBezTo>
                    <a:cubicBezTo>
                      <a:pt x="903861" y="901560"/>
                      <a:pt x="903861" y="901560"/>
                      <a:pt x="903861" y="840219"/>
                    </a:cubicBezTo>
                    <a:cubicBezTo>
                      <a:pt x="903861" y="836653"/>
                      <a:pt x="900286" y="833087"/>
                      <a:pt x="896711" y="833087"/>
                    </a:cubicBezTo>
                    <a:cubicBezTo>
                      <a:pt x="896711" y="833087"/>
                      <a:pt x="896711" y="833087"/>
                      <a:pt x="792315" y="833087"/>
                    </a:cubicBezTo>
                    <a:cubicBezTo>
                      <a:pt x="788025" y="833087"/>
                      <a:pt x="785164" y="836653"/>
                      <a:pt x="785164" y="840219"/>
                    </a:cubicBezTo>
                    <a:cubicBezTo>
                      <a:pt x="785164" y="840219"/>
                      <a:pt x="785164" y="840219"/>
                      <a:pt x="785164" y="868036"/>
                    </a:cubicBezTo>
                    <a:cubicBezTo>
                      <a:pt x="772294" y="865183"/>
                      <a:pt x="758708" y="863044"/>
                      <a:pt x="745837" y="861617"/>
                    </a:cubicBezTo>
                    <a:cubicBezTo>
                      <a:pt x="740832" y="860904"/>
                      <a:pt x="735111" y="860191"/>
                      <a:pt x="730106" y="860191"/>
                    </a:cubicBezTo>
                    <a:cubicBezTo>
                      <a:pt x="725101" y="859477"/>
                      <a:pt x="719381" y="858764"/>
                      <a:pt x="714375" y="858051"/>
                    </a:cubicBezTo>
                    <a:cubicBezTo>
                      <a:pt x="714375" y="858051"/>
                      <a:pt x="714375" y="858051"/>
                      <a:pt x="714375" y="184734"/>
                    </a:cubicBezTo>
                    <a:cubicBezTo>
                      <a:pt x="714375" y="176175"/>
                      <a:pt x="721526" y="169043"/>
                      <a:pt x="730106" y="169043"/>
                    </a:cubicBezTo>
                    <a:cubicBezTo>
                      <a:pt x="730106" y="169043"/>
                      <a:pt x="730106" y="169043"/>
                      <a:pt x="758708" y="169043"/>
                    </a:cubicBezTo>
                    <a:cubicBezTo>
                      <a:pt x="758708" y="169043"/>
                      <a:pt x="758708" y="169043"/>
                      <a:pt x="758708" y="124107"/>
                    </a:cubicBezTo>
                    <a:cubicBezTo>
                      <a:pt x="758708" y="115548"/>
                      <a:pt x="765858" y="108416"/>
                      <a:pt x="774439" y="108416"/>
                    </a:cubicBezTo>
                    <a:cubicBezTo>
                      <a:pt x="774439" y="108416"/>
                      <a:pt x="774439" y="108416"/>
                      <a:pt x="911727" y="108416"/>
                    </a:cubicBezTo>
                    <a:cubicBezTo>
                      <a:pt x="911727" y="108416"/>
                      <a:pt x="911727" y="108416"/>
                      <a:pt x="911727" y="15692"/>
                    </a:cubicBezTo>
                    <a:cubicBezTo>
                      <a:pt x="911727" y="7133"/>
                      <a:pt x="918877" y="0"/>
                      <a:pt x="927458" y="0"/>
                    </a:cubicBezTo>
                    <a:close/>
                  </a:path>
                </a:pathLst>
              </a:custGeom>
              <a:solidFill>
                <a:srgbClr val="3399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8" name="AutoShape 3">
            <a:extLst>
              <a:ext uri="{FF2B5EF4-FFF2-40B4-BE49-F238E27FC236}">
                <a16:creationId xmlns:a16="http://schemas.microsoft.com/office/drawing/2014/main" id="{FFC4D3BB-B639-4996-AEAA-703DAAFF2A7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272396" y="3511667"/>
            <a:ext cx="562093" cy="562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3D2DC420-D375-4C22-BC30-0238CAC8ED28}"/>
              </a:ext>
            </a:extLst>
          </p:cNvPr>
          <p:cNvGrpSpPr/>
          <p:nvPr/>
        </p:nvGrpSpPr>
        <p:grpSpPr>
          <a:xfrm>
            <a:off x="9359206" y="3470876"/>
            <a:ext cx="387931" cy="427355"/>
            <a:chOff x="5526088" y="2831048"/>
            <a:chExt cx="1135063" cy="1250415"/>
          </a:xfrm>
        </p:grpSpPr>
        <p:sp>
          <p:nvSpPr>
            <p:cNvPr id="130" name="Freeform 51">
              <a:extLst>
                <a:ext uri="{FF2B5EF4-FFF2-40B4-BE49-F238E27FC236}">
                  <a16:creationId xmlns:a16="http://schemas.microsoft.com/office/drawing/2014/main" id="{CE1ABF37-5ECF-4881-BC53-AE0E96DB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088" y="2909888"/>
              <a:ext cx="1135063" cy="1171575"/>
            </a:xfrm>
            <a:custGeom>
              <a:avLst/>
              <a:gdLst>
                <a:gd name="connsiteX0" fmla="*/ 94826 w 1135063"/>
                <a:gd name="connsiteY0" fmla="*/ 1008062 h 1171575"/>
                <a:gd name="connsiteX1" fmla="*/ 132614 w 1135063"/>
                <a:gd name="connsiteY1" fmla="*/ 1008062 h 1171575"/>
                <a:gd name="connsiteX2" fmla="*/ 163985 w 1135063"/>
                <a:gd name="connsiteY2" fmla="*/ 1008062 h 1171575"/>
                <a:gd name="connsiteX3" fmla="*/ 971078 w 1135063"/>
                <a:gd name="connsiteY3" fmla="*/ 1008062 h 1171575"/>
                <a:gd name="connsiteX4" fmla="*/ 1002449 w 1135063"/>
                <a:gd name="connsiteY4" fmla="*/ 1008062 h 1171575"/>
                <a:gd name="connsiteX5" fmla="*/ 1040237 w 1135063"/>
                <a:gd name="connsiteY5" fmla="*/ 1008062 h 1171575"/>
                <a:gd name="connsiteX6" fmla="*/ 1055922 w 1135063"/>
                <a:gd name="connsiteY6" fmla="*/ 1023840 h 1171575"/>
                <a:gd name="connsiteX7" fmla="*/ 1055922 w 1135063"/>
                <a:gd name="connsiteY7" fmla="*/ 1055395 h 1171575"/>
                <a:gd name="connsiteX8" fmla="*/ 1119378 w 1135063"/>
                <a:gd name="connsiteY8" fmla="*/ 1055395 h 1171575"/>
                <a:gd name="connsiteX9" fmla="*/ 1135063 w 1135063"/>
                <a:gd name="connsiteY9" fmla="*/ 1071172 h 1171575"/>
                <a:gd name="connsiteX10" fmla="*/ 1135063 w 1135063"/>
                <a:gd name="connsiteY10" fmla="*/ 1155798 h 1171575"/>
                <a:gd name="connsiteX11" fmla="*/ 1119378 w 1135063"/>
                <a:gd name="connsiteY11" fmla="*/ 1171575 h 1171575"/>
                <a:gd name="connsiteX12" fmla="*/ 15685 w 1135063"/>
                <a:gd name="connsiteY12" fmla="*/ 1171575 h 1171575"/>
                <a:gd name="connsiteX13" fmla="*/ 0 w 1135063"/>
                <a:gd name="connsiteY13" fmla="*/ 1155798 h 1171575"/>
                <a:gd name="connsiteX14" fmla="*/ 0 w 1135063"/>
                <a:gd name="connsiteY14" fmla="*/ 1071172 h 1171575"/>
                <a:gd name="connsiteX15" fmla="*/ 15685 w 1135063"/>
                <a:gd name="connsiteY15" fmla="*/ 1055395 h 1171575"/>
                <a:gd name="connsiteX16" fmla="*/ 79140 w 1135063"/>
                <a:gd name="connsiteY16" fmla="*/ 1055395 h 1171575"/>
                <a:gd name="connsiteX17" fmla="*/ 79140 w 1135063"/>
                <a:gd name="connsiteY17" fmla="*/ 1023840 h 1171575"/>
                <a:gd name="connsiteX18" fmla="*/ 94826 w 1135063"/>
                <a:gd name="connsiteY18" fmla="*/ 1008062 h 1171575"/>
                <a:gd name="connsiteX19" fmla="*/ 971550 w 1135063"/>
                <a:gd name="connsiteY19" fmla="*/ 434975 h 1171575"/>
                <a:gd name="connsiteX20" fmla="*/ 1003300 w 1135063"/>
                <a:gd name="connsiteY20" fmla="*/ 461963 h 1171575"/>
                <a:gd name="connsiteX21" fmla="*/ 1003300 w 1135063"/>
                <a:gd name="connsiteY21" fmla="*/ 977900 h 1171575"/>
                <a:gd name="connsiteX22" fmla="*/ 971550 w 1135063"/>
                <a:gd name="connsiteY22" fmla="*/ 977900 h 1171575"/>
                <a:gd name="connsiteX23" fmla="*/ 163513 w 1135063"/>
                <a:gd name="connsiteY23" fmla="*/ 434975 h 1171575"/>
                <a:gd name="connsiteX24" fmla="*/ 163513 w 1135063"/>
                <a:gd name="connsiteY24" fmla="*/ 977900 h 1171575"/>
                <a:gd name="connsiteX25" fmla="*/ 131763 w 1135063"/>
                <a:gd name="connsiteY25" fmla="*/ 977900 h 1171575"/>
                <a:gd name="connsiteX26" fmla="*/ 131763 w 1135063"/>
                <a:gd name="connsiteY26" fmla="*/ 461963 h 1171575"/>
                <a:gd name="connsiteX27" fmla="*/ 240529 w 1135063"/>
                <a:gd name="connsiteY27" fmla="*/ 0 h 1171575"/>
                <a:gd name="connsiteX28" fmla="*/ 329385 w 1135063"/>
                <a:gd name="connsiteY28" fmla="*/ 0 h 1171575"/>
                <a:gd name="connsiteX29" fmla="*/ 336551 w 1135063"/>
                <a:gd name="connsiteY29" fmla="*/ 7117 h 1171575"/>
                <a:gd name="connsiteX30" fmla="*/ 336551 w 1135063"/>
                <a:gd name="connsiteY30" fmla="*/ 76857 h 1171575"/>
                <a:gd name="connsiteX31" fmla="*/ 233363 w 1135063"/>
                <a:gd name="connsiteY31" fmla="*/ 165100 h 1171575"/>
                <a:gd name="connsiteX32" fmla="*/ 233363 w 1135063"/>
                <a:gd name="connsiteY32" fmla="*/ 7117 h 1171575"/>
                <a:gd name="connsiteX33" fmla="*/ 240529 w 1135063"/>
                <a:gd name="connsiteY33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35063" h="1171575">
                  <a:moveTo>
                    <a:pt x="94826" y="1008062"/>
                  </a:moveTo>
                  <a:cubicBezTo>
                    <a:pt x="94826" y="1008062"/>
                    <a:pt x="94826" y="1008062"/>
                    <a:pt x="132614" y="1008062"/>
                  </a:cubicBezTo>
                  <a:cubicBezTo>
                    <a:pt x="132614" y="1008062"/>
                    <a:pt x="132614" y="1008062"/>
                    <a:pt x="163985" y="1008062"/>
                  </a:cubicBezTo>
                  <a:cubicBezTo>
                    <a:pt x="163985" y="1008062"/>
                    <a:pt x="163985" y="1008062"/>
                    <a:pt x="971078" y="1008062"/>
                  </a:cubicBezTo>
                  <a:cubicBezTo>
                    <a:pt x="971078" y="1008062"/>
                    <a:pt x="971078" y="1008062"/>
                    <a:pt x="1002449" y="1008062"/>
                  </a:cubicBezTo>
                  <a:cubicBezTo>
                    <a:pt x="1002449" y="1008062"/>
                    <a:pt x="1002449" y="1008062"/>
                    <a:pt x="1040237" y="1008062"/>
                  </a:cubicBezTo>
                  <a:cubicBezTo>
                    <a:pt x="1049506" y="1008062"/>
                    <a:pt x="1055922" y="1015234"/>
                    <a:pt x="1055922" y="1023840"/>
                  </a:cubicBezTo>
                  <a:cubicBezTo>
                    <a:pt x="1055922" y="1023840"/>
                    <a:pt x="1055922" y="1023840"/>
                    <a:pt x="1055922" y="1055395"/>
                  </a:cubicBezTo>
                  <a:cubicBezTo>
                    <a:pt x="1055922" y="1055395"/>
                    <a:pt x="1055922" y="1055395"/>
                    <a:pt x="1119378" y="1055395"/>
                  </a:cubicBezTo>
                  <a:cubicBezTo>
                    <a:pt x="1127933" y="1055395"/>
                    <a:pt x="1135063" y="1062566"/>
                    <a:pt x="1135063" y="1071172"/>
                  </a:cubicBezTo>
                  <a:cubicBezTo>
                    <a:pt x="1135063" y="1071172"/>
                    <a:pt x="1135063" y="1071172"/>
                    <a:pt x="1135063" y="1155798"/>
                  </a:cubicBezTo>
                  <a:cubicBezTo>
                    <a:pt x="1135063" y="1164404"/>
                    <a:pt x="1127933" y="1171575"/>
                    <a:pt x="1119378" y="1171575"/>
                  </a:cubicBezTo>
                  <a:cubicBezTo>
                    <a:pt x="1119378" y="1171575"/>
                    <a:pt x="1119378" y="1171575"/>
                    <a:pt x="15685" y="1171575"/>
                  </a:cubicBezTo>
                  <a:cubicBezTo>
                    <a:pt x="7130" y="1171575"/>
                    <a:pt x="0" y="1164404"/>
                    <a:pt x="0" y="1155798"/>
                  </a:cubicBezTo>
                  <a:cubicBezTo>
                    <a:pt x="0" y="1155798"/>
                    <a:pt x="0" y="1155798"/>
                    <a:pt x="0" y="1071172"/>
                  </a:cubicBezTo>
                  <a:cubicBezTo>
                    <a:pt x="0" y="1062566"/>
                    <a:pt x="7130" y="1055395"/>
                    <a:pt x="15685" y="1055395"/>
                  </a:cubicBezTo>
                  <a:cubicBezTo>
                    <a:pt x="15685" y="1055395"/>
                    <a:pt x="15685" y="1055395"/>
                    <a:pt x="79140" y="1055395"/>
                  </a:cubicBezTo>
                  <a:cubicBezTo>
                    <a:pt x="79140" y="1055395"/>
                    <a:pt x="79140" y="1055395"/>
                    <a:pt x="79140" y="1023840"/>
                  </a:cubicBezTo>
                  <a:cubicBezTo>
                    <a:pt x="79140" y="1015234"/>
                    <a:pt x="85557" y="1008062"/>
                    <a:pt x="94826" y="1008062"/>
                  </a:cubicBezTo>
                  <a:close/>
                  <a:moveTo>
                    <a:pt x="971550" y="434975"/>
                  </a:moveTo>
                  <a:lnTo>
                    <a:pt x="1003300" y="461963"/>
                  </a:lnTo>
                  <a:lnTo>
                    <a:pt x="1003300" y="977900"/>
                  </a:lnTo>
                  <a:lnTo>
                    <a:pt x="971550" y="977900"/>
                  </a:lnTo>
                  <a:close/>
                  <a:moveTo>
                    <a:pt x="163513" y="434975"/>
                  </a:moveTo>
                  <a:lnTo>
                    <a:pt x="163513" y="977900"/>
                  </a:lnTo>
                  <a:lnTo>
                    <a:pt x="131763" y="977900"/>
                  </a:lnTo>
                  <a:lnTo>
                    <a:pt x="131763" y="461963"/>
                  </a:lnTo>
                  <a:close/>
                  <a:moveTo>
                    <a:pt x="240529" y="0"/>
                  </a:moveTo>
                  <a:cubicBezTo>
                    <a:pt x="240529" y="0"/>
                    <a:pt x="240529" y="0"/>
                    <a:pt x="329385" y="0"/>
                  </a:cubicBezTo>
                  <a:cubicBezTo>
                    <a:pt x="333685" y="0"/>
                    <a:pt x="336551" y="2847"/>
                    <a:pt x="336551" y="7117"/>
                  </a:cubicBezTo>
                  <a:lnTo>
                    <a:pt x="336551" y="76857"/>
                  </a:lnTo>
                  <a:cubicBezTo>
                    <a:pt x="336551" y="76857"/>
                    <a:pt x="336551" y="76857"/>
                    <a:pt x="233363" y="165100"/>
                  </a:cubicBezTo>
                  <a:cubicBezTo>
                    <a:pt x="233363" y="165100"/>
                    <a:pt x="233363" y="165100"/>
                    <a:pt x="233363" y="7117"/>
                  </a:cubicBezTo>
                  <a:cubicBezTo>
                    <a:pt x="233363" y="2847"/>
                    <a:pt x="236230" y="0"/>
                    <a:pt x="240529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" name="Freeform 52">
              <a:extLst>
                <a:ext uri="{FF2B5EF4-FFF2-40B4-BE49-F238E27FC236}">
                  <a16:creationId xmlns:a16="http://schemas.microsoft.com/office/drawing/2014/main" id="{2F76FA07-4904-444B-8AB5-7D27FC2F0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5142" y="2831048"/>
              <a:ext cx="1096964" cy="1056741"/>
            </a:xfrm>
            <a:custGeom>
              <a:avLst/>
              <a:gdLst>
                <a:gd name="connsiteX0" fmla="*/ 613618 w 1096963"/>
                <a:gd name="connsiteY0" fmla="*/ 705902 h 1056740"/>
                <a:gd name="connsiteX1" fmla="*/ 775446 w 1096963"/>
                <a:gd name="connsiteY1" fmla="*/ 705902 h 1056740"/>
                <a:gd name="connsiteX2" fmla="*/ 782638 w 1096963"/>
                <a:gd name="connsiteY2" fmla="*/ 713762 h 1056740"/>
                <a:gd name="connsiteX3" fmla="*/ 782638 w 1096963"/>
                <a:gd name="connsiteY3" fmla="*/ 1048880 h 1056740"/>
                <a:gd name="connsiteX4" fmla="*/ 775446 w 1096963"/>
                <a:gd name="connsiteY4" fmla="*/ 1056740 h 1056740"/>
                <a:gd name="connsiteX5" fmla="*/ 613618 w 1096963"/>
                <a:gd name="connsiteY5" fmla="*/ 1056740 h 1056740"/>
                <a:gd name="connsiteX6" fmla="*/ 606425 w 1096963"/>
                <a:gd name="connsiteY6" fmla="*/ 1048880 h 1056740"/>
                <a:gd name="connsiteX7" fmla="*/ 606425 w 1096963"/>
                <a:gd name="connsiteY7" fmla="*/ 713762 h 1056740"/>
                <a:gd name="connsiteX8" fmla="*/ 613618 w 1096963"/>
                <a:gd name="connsiteY8" fmla="*/ 705902 h 1056740"/>
                <a:gd name="connsiteX9" fmla="*/ 323041 w 1096963"/>
                <a:gd name="connsiteY9" fmla="*/ 705902 h 1056740"/>
                <a:gd name="connsiteX10" fmla="*/ 483411 w 1096963"/>
                <a:gd name="connsiteY10" fmla="*/ 705902 h 1056740"/>
                <a:gd name="connsiteX11" fmla="*/ 490538 w 1096963"/>
                <a:gd name="connsiteY11" fmla="*/ 713065 h 1056740"/>
                <a:gd name="connsiteX12" fmla="*/ 490538 w 1096963"/>
                <a:gd name="connsiteY12" fmla="*/ 874952 h 1056740"/>
                <a:gd name="connsiteX13" fmla="*/ 483411 w 1096963"/>
                <a:gd name="connsiteY13" fmla="*/ 882115 h 1056740"/>
                <a:gd name="connsiteX14" fmla="*/ 323041 w 1096963"/>
                <a:gd name="connsiteY14" fmla="*/ 882115 h 1056740"/>
                <a:gd name="connsiteX15" fmla="*/ 315913 w 1096963"/>
                <a:gd name="connsiteY15" fmla="*/ 874952 h 1056740"/>
                <a:gd name="connsiteX16" fmla="*/ 315913 w 1096963"/>
                <a:gd name="connsiteY16" fmla="*/ 713065 h 1056740"/>
                <a:gd name="connsiteX17" fmla="*/ 323041 w 1096963"/>
                <a:gd name="connsiteY17" fmla="*/ 705902 h 1056740"/>
                <a:gd name="connsiteX18" fmla="*/ 613618 w 1096963"/>
                <a:gd name="connsiteY18" fmla="*/ 432852 h 1056740"/>
                <a:gd name="connsiteX19" fmla="*/ 775446 w 1096963"/>
                <a:gd name="connsiteY19" fmla="*/ 432852 h 1056740"/>
                <a:gd name="connsiteX20" fmla="*/ 782638 w 1096963"/>
                <a:gd name="connsiteY20" fmla="*/ 440015 h 1056740"/>
                <a:gd name="connsiteX21" fmla="*/ 782638 w 1096963"/>
                <a:gd name="connsiteY21" fmla="*/ 601902 h 1056740"/>
                <a:gd name="connsiteX22" fmla="*/ 775446 w 1096963"/>
                <a:gd name="connsiteY22" fmla="*/ 609065 h 1056740"/>
                <a:gd name="connsiteX23" fmla="*/ 613618 w 1096963"/>
                <a:gd name="connsiteY23" fmla="*/ 609065 h 1056740"/>
                <a:gd name="connsiteX24" fmla="*/ 606425 w 1096963"/>
                <a:gd name="connsiteY24" fmla="*/ 601902 h 1056740"/>
                <a:gd name="connsiteX25" fmla="*/ 606425 w 1096963"/>
                <a:gd name="connsiteY25" fmla="*/ 440015 h 1056740"/>
                <a:gd name="connsiteX26" fmla="*/ 613618 w 1096963"/>
                <a:gd name="connsiteY26" fmla="*/ 432852 h 1056740"/>
                <a:gd name="connsiteX27" fmla="*/ 323041 w 1096963"/>
                <a:gd name="connsiteY27" fmla="*/ 432852 h 1056740"/>
                <a:gd name="connsiteX28" fmla="*/ 483411 w 1096963"/>
                <a:gd name="connsiteY28" fmla="*/ 432852 h 1056740"/>
                <a:gd name="connsiteX29" fmla="*/ 490538 w 1096963"/>
                <a:gd name="connsiteY29" fmla="*/ 440015 h 1056740"/>
                <a:gd name="connsiteX30" fmla="*/ 490538 w 1096963"/>
                <a:gd name="connsiteY30" fmla="*/ 601902 h 1056740"/>
                <a:gd name="connsiteX31" fmla="*/ 483411 w 1096963"/>
                <a:gd name="connsiteY31" fmla="*/ 609065 h 1056740"/>
                <a:gd name="connsiteX32" fmla="*/ 323041 w 1096963"/>
                <a:gd name="connsiteY32" fmla="*/ 609065 h 1056740"/>
                <a:gd name="connsiteX33" fmla="*/ 315913 w 1096963"/>
                <a:gd name="connsiteY33" fmla="*/ 601902 h 1056740"/>
                <a:gd name="connsiteX34" fmla="*/ 315913 w 1096963"/>
                <a:gd name="connsiteY34" fmla="*/ 440015 h 1056740"/>
                <a:gd name="connsiteX35" fmla="*/ 323041 w 1096963"/>
                <a:gd name="connsiteY35" fmla="*/ 432852 h 1056740"/>
                <a:gd name="connsiteX36" fmla="*/ 543489 w 1096963"/>
                <a:gd name="connsiteY36" fmla="*/ 1605 h 1056740"/>
                <a:gd name="connsiteX37" fmla="*/ 553474 w 1096963"/>
                <a:gd name="connsiteY37" fmla="*/ 1605 h 1056740"/>
                <a:gd name="connsiteX38" fmla="*/ 1094823 w 1096963"/>
                <a:gd name="connsiteY38" fmla="*/ 468895 h 1056740"/>
                <a:gd name="connsiteX39" fmla="*/ 1096963 w 1096963"/>
                <a:gd name="connsiteY39" fmla="*/ 474602 h 1056740"/>
                <a:gd name="connsiteX40" fmla="*/ 1096963 w 1096963"/>
                <a:gd name="connsiteY40" fmla="*/ 582329 h 1056740"/>
                <a:gd name="connsiteX41" fmla="*/ 1085551 w 1096963"/>
                <a:gd name="connsiteY41" fmla="*/ 588036 h 1056740"/>
                <a:gd name="connsiteX42" fmla="*/ 983558 w 1096963"/>
                <a:gd name="connsiteY42" fmla="*/ 499572 h 1056740"/>
                <a:gd name="connsiteX43" fmla="*/ 956455 w 1096963"/>
                <a:gd name="connsiteY43" fmla="*/ 476743 h 1056740"/>
                <a:gd name="connsiteX44" fmla="*/ 553474 w 1096963"/>
                <a:gd name="connsiteY44" fmla="*/ 128594 h 1056740"/>
                <a:gd name="connsiteX45" fmla="*/ 543489 w 1096963"/>
                <a:gd name="connsiteY45" fmla="*/ 128594 h 1056740"/>
                <a:gd name="connsiteX46" fmla="*/ 140509 w 1096963"/>
                <a:gd name="connsiteY46" fmla="*/ 476743 h 1056740"/>
                <a:gd name="connsiteX47" fmla="*/ 113405 w 1096963"/>
                <a:gd name="connsiteY47" fmla="*/ 499572 h 1056740"/>
                <a:gd name="connsiteX48" fmla="*/ 11412 w 1096963"/>
                <a:gd name="connsiteY48" fmla="*/ 588036 h 1056740"/>
                <a:gd name="connsiteX49" fmla="*/ 0 w 1096963"/>
                <a:gd name="connsiteY49" fmla="*/ 582329 h 1056740"/>
                <a:gd name="connsiteX50" fmla="*/ 0 w 1096963"/>
                <a:gd name="connsiteY50" fmla="*/ 474602 h 1056740"/>
                <a:gd name="connsiteX51" fmla="*/ 2140 w 1096963"/>
                <a:gd name="connsiteY51" fmla="*/ 468895 h 1056740"/>
                <a:gd name="connsiteX52" fmla="*/ 214685 w 1096963"/>
                <a:gd name="connsiteY52" fmla="*/ 285546 h 1056740"/>
                <a:gd name="connsiteX53" fmla="*/ 317392 w 1096963"/>
                <a:gd name="connsiteY53" fmla="*/ 197082 h 1056740"/>
                <a:gd name="connsiteX54" fmla="*/ 543489 w 1096963"/>
                <a:gd name="connsiteY54" fmla="*/ 1605 h 105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96963" h="1056740">
                  <a:moveTo>
                    <a:pt x="613618" y="705902"/>
                  </a:moveTo>
                  <a:cubicBezTo>
                    <a:pt x="613618" y="705902"/>
                    <a:pt x="613618" y="705902"/>
                    <a:pt x="775446" y="705902"/>
                  </a:cubicBezTo>
                  <a:cubicBezTo>
                    <a:pt x="779761" y="705902"/>
                    <a:pt x="782638" y="709475"/>
                    <a:pt x="782638" y="713762"/>
                  </a:cubicBezTo>
                  <a:cubicBezTo>
                    <a:pt x="782638" y="713762"/>
                    <a:pt x="782638" y="713762"/>
                    <a:pt x="782638" y="1048880"/>
                  </a:cubicBezTo>
                  <a:cubicBezTo>
                    <a:pt x="782638" y="1053167"/>
                    <a:pt x="779761" y="1056740"/>
                    <a:pt x="775446" y="1056740"/>
                  </a:cubicBezTo>
                  <a:cubicBezTo>
                    <a:pt x="775446" y="1056740"/>
                    <a:pt x="775446" y="1056740"/>
                    <a:pt x="613618" y="1056740"/>
                  </a:cubicBezTo>
                  <a:cubicBezTo>
                    <a:pt x="610021" y="1056740"/>
                    <a:pt x="606425" y="1053167"/>
                    <a:pt x="606425" y="1048880"/>
                  </a:cubicBezTo>
                  <a:cubicBezTo>
                    <a:pt x="606425" y="1048880"/>
                    <a:pt x="606425" y="1048880"/>
                    <a:pt x="606425" y="713762"/>
                  </a:cubicBezTo>
                  <a:cubicBezTo>
                    <a:pt x="606425" y="709475"/>
                    <a:pt x="610021" y="705902"/>
                    <a:pt x="613618" y="705902"/>
                  </a:cubicBezTo>
                  <a:close/>
                  <a:moveTo>
                    <a:pt x="323041" y="705902"/>
                  </a:moveTo>
                  <a:cubicBezTo>
                    <a:pt x="323041" y="705902"/>
                    <a:pt x="323041" y="705902"/>
                    <a:pt x="483411" y="705902"/>
                  </a:cubicBezTo>
                  <a:cubicBezTo>
                    <a:pt x="486974" y="705902"/>
                    <a:pt x="490538" y="709484"/>
                    <a:pt x="490538" y="713065"/>
                  </a:cubicBezTo>
                  <a:cubicBezTo>
                    <a:pt x="490538" y="713065"/>
                    <a:pt x="490538" y="713065"/>
                    <a:pt x="490538" y="874952"/>
                  </a:cubicBezTo>
                  <a:cubicBezTo>
                    <a:pt x="490538" y="878534"/>
                    <a:pt x="486974" y="882115"/>
                    <a:pt x="483411" y="882115"/>
                  </a:cubicBezTo>
                  <a:cubicBezTo>
                    <a:pt x="483411" y="882115"/>
                    <a:pt x="483411" y="882115"/>
                    <a:pt x="323041" y="882115"/>
                  </a:cubicBezTo>
                  <a:cubicBezTo>
                    <a:pt x="318764" y="882115"/>
                    <a:pt x="315913" y="878534"/>
                    <a:pt x="315913" y="874952"/>
                  </a:cubicBezTo>
                  <a:cubicBezTo>
                    <a:pt x="315913" y="874952"/>
                    <a:pt x="315913" y="874952"/>
                    <a:pt x="315913" y="713065"/>
                  </a:cubicBezTo>
                  <a:cubicBezTo>
                    <a:pt x="315913" y="709484"/>
                    <a:pt x="318764" y="705902"/>
                    <a:pt x="323041" y="705902"/>
                  </a:cubicBezTo>
                  <a:close/>
                  <a:moveTo>
                    <a:pt x="613618" y="432852"/>
                  </a:moveTo>
                  <a:cubicBezTo>
                    <a:pt x="613618" y="432852"/>
                    <a:pt x="613618" y="432852"/>
                    <a:pt x="775446" y="432852"/>
                  </a:cubicBezTo>
                  <a:cubicBezTo>
                    <a:pt x="779761" y="432852"/>
                    <a:pt x="782638" y="436434"/>
                    <a:pt x="782638" y="440015"/>
                  </a:cubicBezTo>
                  <a:cubicBezTo>
                    <a:pt x="782638" y="440015"/>
                    <a:pt x="782638" y="440015"/>
                    <a:pt x="782638" y="601902"/>
                  </a:cubicBezTo>
                  <a:cubicBezTo>
                    <a:pt x="782638" y="605484"/>
                    <a:pt x="779761" y="609065"/>
                    <a:pt x="775446" y="609065"/>
                  </a:cubicBezTo>
                  <a:cubicBezTo>
                    <a:pt x="775446" y="609065"/>
                    <a:pt x="775446" y="609065"/>
                    <a:pt x="613618" y="609065"/>
                  </a:cubicBezTo>
                  <a:cubicBezTo>
                    <a:pt x="610021" y="609065"/>
                    <a:pt x="606425" y="605484"/>
                    <a:pt x="606425" y="601902"/>
                  </a:cubicBezTo>
                  <a:cubicBezTo>
                    <a:pt x="606425" y="601902"/>
                    <a:pt x="606425" y="601902"/>
                    <a:pt x="606425" y="440015"/>
                  </a:cubicBezTo>
                  <a:cubicBezTo>
                    <a:pt x="606425" y="436434"/>
                    <a:pt x="610021" y="432852"/>
                    <a:pt x="613618" y="432852"/>
                  </a:cubicBezTo>
                  <a:close/>
                  <a:moveTo>
                    <a:pt x="323041" y="432852"/>
                  </a:moveTo>
                  <a:cubicBezTo>
                    <a:pt x="323041" y="432852"/>
                    <a:pt x="323041" y="432852"/>
                    <a:pt x="483411" y="432852"/>
                  </a:cubicBezTo>
                  <a:cubicBezTo>
                    <a:pt x="486974" y="432852"/>
                    <a:pt x="490538" y="436434"/>
                    <a:pt x="490538" y="440015"/>
                  </a:cubicBezTo>
                  <a:cubicBezTo>
                    <a:pt x="490538" y="440015"/>
                    <a:pt x="490538" y="440015"/>
                    <a:pt x="490538" y="601902"/>
                  </a:cubicBezTo>
                  <a:cubicBezTo>
                    <a:pt x="490538" y="605484"/>
                    <a:pt x="486974" y="609065"/>
                    <a:pt x="483411" y="609065"/>
                  </a:cubicBezTo>
                  <a:cubicBezTo>
                    <a:pt x="483411" y="609065"/>
                    <a:pt x="483411" y="609065"/>
                    <a:pt x="323041" y="609065"/>
                  </a:cubicBezTo>
                  <a:cubicBezTo>
                    <a:pt x="318764" y="609065"/>
                    <a:pt x="315913" y="605484"/>
                    <a:pt x="315913" y="601902"/>
                  </a:cubicBezTo>
                  <a:cubicBezTo>
                    <a:pt x="315913" y="601902"/>
                    <a:pt x="315913" y="601902"/>
                    <a:pt x="315913" y="440015"/>
                  </a:cubicBezTo>
                  <a:cubicBezTo>
                    <a:pt x="315913" y="436434"/>
                    <a:pt x="318764" y="432852"/>
                    <a:pt x="323041" y="432852"/>
                  </a:cubicBezTo>
                  <a:close/>
                  <a:moveTo>
                    <a:pt x="543489" y="1605"/>
                  </a:moveTo>
                  <a:cubicBezTo>
                    <a:pt x="546342" y="-535"/>
                    <a:pt x="550621" y="-535"/>
                    <a:pt x="553474" y="1605"/>
                  </a:cubicBezTo>
                  <a:cubicBezTo>
                    <a:pt x="553474" y="1605"/>
                    <a:pt x="553474" y="1605"/>
                    <a:pt x="1094823" y="468895"/>
                  </a:cubicBezTo>
                  <a:cubicBezTo>
                    <a:pt x="1096250" y="470322"/>
                    <a:pt x="1096963" y="472462"/>
                    <a:pt x="1096963" y="474602"/>
                  </a:cubicBezTo>
                  <a:cubicBezTo>
                    <a:pt x="1096963" y="474602"/>
                    <a:pt x="1096963" y="474602"/>
                    <a:pt x="1096963" y="582329"/>
                  </a:cubicBezTo>
                  <a:cubicBezTo>
                    <a:pt x="1096963" y="588749"/>
                    <a:pt x="1089831" y="591603"/>
                    <a:pt x="1085551" y="588036"/>
                  </a:cubicBezTo>
                  <a:cubicBezTo>
                    <a:pt x="1085551" y="588036"/>
                    <a:pt x="1085551" y="588036"/>
                    <a:pt x="983558" y="499572"/>
                  </a:cubicBezTo>
                  <a:cubicBezTo>
                    <a:pt x="983558" y="499572"/>
                    <a:pt x="983558" y="499572"/>
                    <a:pt x="956455" y="476743"/>
                  </a:cubicBezTo>
                  <a:cubicBezTo>
                    <a:pt x="956455" y="476743"/>
                    <a:pt x="956455" y="476743"/>
                    <a:pt x="553474" y="128594"/>
                  </a:cubicBezTo>
                  <a:cubicBezTo>
                    <a:pt x="550621" y="125740"/>
                    <a:pt x="546342" y="125740"/>
                    <a:pt x="543489" y="128594"/>
                  </a:cubicBezTo>
                  <a:cubicBezTo>
                    <a:pt x="543489" y="128594"/>
                    <a:pt x="543489" y="128594"/>
                    <a:pt x="140509" y="476743"/>
                  </a:cubicBezTo>
                  <a:cubicBezTo>
                    <a:pt x="140509" y="476743"/>
                    <a:pt x="140509" y="476743"/>
                    <a:pt x="113405" y="499572"/>
                  </a:cubicBezTo>
                  <a:cubicBezTo>
                    <a:pt x="113405" y="499572"/>
                    <a:pt x="113405" y="499572"/>
                    <a:pt x="11412" y="588036"/>
                  </a:cubicBezTo>
                  <a:cubicBezTo>
                    <a:pt x="7133" y="591603"/>
                    <a:pt x="0" y="588749"/>
                    <a:pt x="0" y="582329"/>
                  </a:cubicBezTo>
                  <a:cubicBezTo>
                    <a:pt x="0" y="582329"/>
                    <a:pt x="0" y="582329"/>
                    <a:pt x="0" y="474602"/>
                  </a:cubicBezTo>
                  <a:cubicBezTo>
                    <a:pt x="0" y="472462"/>
                    <a:pt x="713" y="470322"/>
                    <a:pt x="2140" y="468895"/>
                  </a:cubicBezTo>
                  <a:cubicBezTo>
                    <a:pt x="2140" y="468895"/>
                    <a:pt x="2140" y="468895"/>
                    <a:pt x="214685" y="285546"/>
                  </a:cubicBezTo>
                  <a:cubicBezTo>
                    <a:pt x="214685" y="285546"/>
                    <a:pt x="214685" y="285546"/>
                    <a:pt x="317392" y="197082"/>
                  </a:cubicBezTo>
                  <a:cubicBezTo>
                    <a:pt x="317392" y="197082"/>
                    <a:pt x="317392" y="197082"/>
                    <a:pt x="543489" y="1605"/>
                  </a:cubicBezTo>
                  <a:close/>
                </a:path>
              </a:pathLst>
            </a:custGeom>
            <a:solidFill>
              <a:srgbClr val="339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D37F416-3F24-4685-B0C4-9D1620C1E4BA}"/>
              </a:ext>
            </a:extLst>
          </p:cNvPr>
          <p:cNvGrpSpPr/>
          <p:nvPr/>
        </p:nvGrpSpPr>
        <p:grpSpPr>
          <a:xfrm flipV="1">
            <a:off x="10390179" y="3172464"/>
            <a:ext cx="45720" cy="382864"/>
            <a:chOff x="5673433" y="4797577"/>
            <a:chExt cx="45720" cy="611732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D86B189E-8ED2-4F85-AA9D-BE2FD64C2CE3}"/>
                </a:ext>
              </a:extLst>
            </p:cNvPr>
            <p:cNvCxnSpPr>
              <a:cxnSpLocks/>
            </p:cNvCxnSpPr>
            <p:nvPr/>
          </p:nvCxnSpPr>
          <p:spPr>
            <a:xfrm>
              <a:off x="5696293" y="4870625"/>
              <a:ext cx="0" cy="538684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0ABE4716-C3FF-4CC5-A2D1-0DD305F3E762}"/>
                </a:ext>
              </a:extLst>
            </p:cNvPr>
            <p:cNvSpPr/>
            <p:nvPr/>
          </p:nvSpPr>
          <p:spPr>
            <a:xfrm flipV="1">
              <a:off x="5673433" y="4797577"/>
              <a:ext cx="45720" cy="73051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070DA729-D739-4BF9-82ED-4045A1737837}"/>
              </a:ext>
            </a:extLst>
          </p:cNvPr>
          <p:cNvGrpSpPr/>
          <p:nvPr/>
        </p:nvGrpSpPr>
        <p:grpSpPr>
          <a:xfrm flipV="1">
            <a:off x="9523767" y="3169360"/>
            <a:ext cx="45719" cy="307861"/>
            <a:chOff x="5673433" y="4983140"/>
            <a:chExt cx="45720" cy="426169"/>
          </a:xfrm>
        </p:grpSpPr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528CFE29-7BE5-43B3-990F-012E5430C867}"/>
                </a:ext>
              </a:extLst>
            </p:cNvPr>
            <p:cNvCxnSpPr>
              <a:cxnSpLocks/>
            </p:cNvCxnSpPr>
            <p:nvPr/>
          </p:nvCxnSpPr>
          <p:spPr>
            <a:xfrm>
              <a:off x="5696294" y="5029571"/>
              <a:ext cx="0" cy="379738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2F20D3B2-7188-4F98-B372-0C127124118F}"/>
                </a:ext>
              </a:extLst>
            </p:cNvPr>
            <p:cNvSpPr/>
            <p:nvPr/>
          </p:nvSpPr>
          <p:spPr>
            <a:xfrm flipV="1">
              <a:off x="5673433" y="4983140"/>
              <a:ext cx="45720" cy="63290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8" name="object 24">
            <a:extLst>
              <a:ext uri="{FF2B5EF4-FFF2-40B4-BE49-F238E27FC236}">
                <a16:creationId xmlns:a16="http://schemas.microsoft.com/office/drawing/2014/main" id="{125F311E-B18D-4A48-85D0-20EA2E88B875}"/>
              </a:ext>
            </a:extLst>
          </p:cNvPr>
          <p:cNvSpPr txBox="1"/>
          <p:nvPr/>
        </p:nvSpPr>
        <p:spPr>
          <a:xfrm>
            <a:off x="8879387" y="3926057"/>
            <a:ext cx="1347568" cy="1519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 defTabSz="457200">
              <a:spcBef>
                <a:spcPts val="105"/>
              </a:spcBef>
            </a:pPr>
            <a:r>
              <a:rPr lang="en-US" sz="900" i="1" spc="-10" dirty="0">
                <a:cs typeface="Trebuchet MS"/>
              </a:rPr>
              <a:t>Home</a:t>
            </a:r>
            <a:endParaRPr sz="900" i="1" dirty="0">
              <a:cs typeface="Trebuchet MS"/>
            </a:endParaRPr>
          </a:p>
        </p:txBody>
      </p:sp>
      <p:sp>
        <p:nvSpPr>
          <p:cNvPr id="139" name="object 24">
            <a:extLst>
              <a:ext uri="{FF2B5EF4-FFF2-40B4-BE49-F238E27FC236}">
                <a16:creationId xmlns:a16="http://schemas.microsoft.com/office/drawing/2014/main" id="{296CA064-DE33-4065-BF27-91AEA9BB6254}"/>
              </a:ext>
            </a:extLst>
          </p:cNvPr>
          <p:cNvSpPr txBox="1"/>
          <p:nvPr/>
        </p:nvSpPr>
        <p:spPr>
          <a:xfrm>
            <a:off x="9737103" y="3935017"/>
            <a:ext cx="1347568" cy="1519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 defTabSz="457200">
              <a:spcBef>
                <a:spcPts val="105"/>
              </a:spcBef>
            </a:pPr>
            <a:r>
              <a:rPr lang="en-US" sz="900" i="1" spc="-10" dirty="0">
                <a:cs typeface="Trebuchet MS"/>
              </a:rPr>
              <a:t>Enterprises</a:t>
            </a:r>
            <a:endParaRPr sz="900" i="1" dirty="0">
              <a:cs typeface="Trebuchet MS"/>
            </a:endParaRPr>
          </a:p>
        </p:txBody>
      </p:sp>
      <p:pic>
        <p:nvPicPr>
          <p:cNvPr id="140" name="Picture 139">
            <a:extLst>
              <a:ext uri="{FF2B5EF4-FFF2-40B4-BE49-F238E27FC236}">
                <a16:creationId xmlns:a16="http://schemas.microsoft.com/office/drawing/2014/main" id="{FF5B12BD-6E71-4FB1-8817-5BF4CCE1F8D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22A286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18" y="1598761"/>
            <a:ext cx="529172" cy="529172"/>
          </a:xfrm>
          <a:prstGeom prst="rect">
            <a:avLst/>
          </a:prstGeom>
        </p:spPr>
      </p:pic>
      <p:sp>
        <p:nvSpPr>
          <p:cNvPr id="141" name="Rectangle 140">
            <a:extLst>
              <a:ext uri="{FF2B5EF4-FFF2-40B4-BE49-F238E27FC236}">
                <a16:creationId xmlns:a16="http://schemas.microsoft.com/office/drawing/2014/main" id="{8F16A980-4FCB-4516-BB7B-C0C6038BA8CA}"/>
              </a:ext>
            </a:extLst>
          </p:cNvPr>
          <p:cNvSpPr>
            <a:spLocks/>
          </p:cNvSpPr>
          <p:nvPr/>
        </p:nvSpPr>
        <p:spPr>
          <a:xfrm>
            <a:off x="6096000" y="1568139"/>
            <a:ext cx="2587667" cy="2552294"/>
          </a:xfrm>
          <a:prstGeom prst="rect">
            <a:avLst/>
          </a:prstGeom>
          <a:solidFill>
            <a:srgbClr val="FFFFFF">
              <a:lumMod val="95000"/>
            </a:srgbClr>
          </a:solidFill>
          <a:ln w="571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object 25">
            <a:extLst>
              <a:ext uri="{FF2B5EF4-FFF2-40B4-BE49-F238E27FC236}">
                <a16:creationId xmlns:a16="http://schemas.microsoft.com/office/drawing/2014/main" id="{E499B343-A36D-4483-ACB9-F42AF4CF01E3}"/>
              </a:ext>
            </a:extLst>
          </p:cNvPr>
          <p:cNvSpPr txBox="1"/>
          <p:nvPr/>
        </p:nvSpPr>
        <p:spPr>
          <a:xfrm>
            <a:off x="6800222" y="1769603"/>
            <a:ext cx="1835899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defTabSz="457200">
              <a:spcBef>
                <a:spcPts val="100"/>
              </a:spcBef>
            </a:pPr>
            <a:r>
              <a:rPr lang="en-US" sz="1400" b="1" dirty="0">
                <a:cs typeface="Trebuchet MS"/>
              </a:rPr>
              <a:t>Peering</a:t>
            </a:r>
            <a:endParaRPr sz="1400" b="1" dirty="0">
              <a:cs typeface="Trebuchet MS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E5464F82-D056-4DA6-9CBD-7EEC0E3C2DE8}"/>
              </a:ext>
            </a:extLst>
          </p:cNvPr>
          <p:cNvGrpSpPr/>
          <p:nvPr/>
        </p:nvGrpSpPr>
        <p:grpSpPr>
          <a:xfrm>
            <a:off x="6165759" y="1625903"/>
            <a:ext cx="516796" cy="493269"/>
            <a:chOff x="5392149" y="2697974"/>
            <a:chExt cx="1446482" cy="1477901"/>
          </a:xfrm>
        </p:grpSpPr>
        <p:sp>
          <p:nvSpPr>
            <p:cNvPr id="147" name="Freeform 10">
              <a:extLst>
                <a:ext uri="{FF2B5EF4-FFF2-40B4-BE49-F238E27FC236}">
                  <a16:creationId xmlns:a16="http://schemas.microsoft.com/office/drawing/2014/main" id="{021404D4-D588-4B57-BF22-C22C2C4B0C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149" y="2697974"/>
              <a:ext cx="1446482" cy="1477901"/>
            </a:xfrm>
            <a:custGeom>
              <a:avLst/>
              <a:gdLst>
                <a:gd name="T0" fmla="*/ 1519 w 1900"/>
                <a:gd name="T1" fmla="*/ 1024 h 1943"/>
                <a:gd name="T2" fmla="*/ 1900 w 1900"/>
                <a:gd name="T3" fmla="*/ 1002 h 1943"/>
                <a:gd name="T4" fmla="*/ 1519 w 1900"/>
                <a:gd name="T5" fmla="*/ 980 h 1943"/>
                <a:gd name="T6" fmla="*/ 1164 w 1900"/>
                <a:gd name="T7" fmla="*/ 690 h 1943"/>
                <a:gd name="T8" fmla="*/ 1356 w 1900"/>
                <a:gd name="T9" fmla="*/ 354 h 1943"/>
                <a:gd name="T10" fmla="*/ 1356 w 1900"/>
                <a:gd name="T11" fmla="*/ 44 h 1943"/>
                <a:gd name="T12" fmla="*/ 1274 w 1900"/>
                <a:gd name="T13" fmla="*/ 330 h 1943"/>
                <a:gd name="T14" fmla="*/ 1003 w 1900"/>
                <a:gd name="T15" fmla="*/ 651 h 1943"/>
                <a:gd name="T16" fmla="*/ 445 w 1900"/>
                <a:gd name="T17" fmla="*/ 413 h 1943"/>
                <a:gd name="T18" fmla="*/ 252 w 1900"/>
                <a:gd name="T19" fmla="*/ 0 h 1943"/>
                <a:gd name="T20" fmla="*/ 252 w 1900"/>
                <a:gd name="T21" fmla="*/ 504 h 1943"/>
                <a:gd name="T22" fmla="*/ 739 w 1900"/>
                <a:gd name="T23" fmla="*/ 770 h 1943"/>
                <a:gd name="T24" fmla="*/ 736 w 1900"/>
                <a:gd name="T25" fmla="*/ 1230 h 1943"/>
                <a:gd name="T26" fmla="*/ 359 w 1900"/>
                <a:gd name="T27" fmla="*/ 1314 h 1943"/>
                <a:gd name="T28" fmla="*/ 359 w 1900"/>
                <a:gd name="T29" fmla="*/ 1943 h 1943"/>
                <a:gd name="T30" fmla="*/ 599 w 1900"/>
                <a:gd name="T31" fmla="*/ 1426 h 1943"/>
                <a:gd name="T32" fmla="*/ 1003 w 1900"/>
                <a:gd name="T33" fmla="*/ 1353 h 1943"/>
                <a:gd name="T34" fmla="*/ 1343 w 1900"/>
                <a:gd name="T35" fmla="*/ 1449 h 1943"/>
                <a:gd name="T36" fmla="*/ 1519 w 1900"/>
                <a:gd name="T37" fmla="*/ 1880 h 1943"/>
                <a:gd name="T38" fmla="*/ 1519 w 1900"/>
                <a:gd name="T39" fmla="*/ 1377 h 1943"/>
                <a:gd name="T40" fmla="*/ 1242 w 1900"/>
                <a:gd name="T41" fmla="*/ 1258 h 1943"/>
                <a:gd name="T42" fmla="*/ 1563 w 1900"/>
                <a:gd name="T43" fmla="*/ 980 h 1943"/>
                <a:gd name="T44" fmla="*/ 1856 w 1900"/>
                <a:gd name="T45" fmla="*/ 1002 h 1943"/>
                <a:gd name="T46" fmla="*/ 1563 w 1900"/>
                <a:gd name="T47" fmla="*/ 1024 h 1943"/>
                <a:gd name="T48" fmla="*/ 1563 w 1900"/>
                <a:gd name="T49" fmla="*/ 980 h 1943"/>
                <a:gd name="T50" fmla="*/ 1356 w 1900"/>
                <a:gd name="T51" fmla="*/ 88 h 1943"/>
                <a:gd name="T52" fmla="*/ 1356 w 1900"/>
                <a:gd name="T53" fmla="*/ 310 h 1943"/>
                <a:gd name="T54" fmla="*/ 1292 w 1900"/>
                <a:gd name="T55" fmla="*/ 289 h 1943"/>
                <a:gd name="T56" fmla="*/ 252 w 1900"/>
                <a:gd name="T57" fmla="*/ 460 h 1943"/>
                <a:gd name="T58" fmla="*/ 252 w 1900"/>
                <a:gd name="T59" fmla="*/ 44 h 1943"/>
                <a:gd name="T60" fmla="*/ 414 w 1900"/>
                <a:gd name="T61" fmla="*/ 382 h 1943"/>
                <a:gd name="T62" fmla="*/ 252 w 1900"/>
                <a:gd name="T63" fmla="*/ 460 h 1943"/>
                <a:gd name="T64" fmla="*/ 359 w 1900"/>
                <a:gd name="T65" fmla="*/ 1899 h 1943"/>
                <a:gd name="T66" fmla="*/ 359 w 1900"/>
                <a:gd name="T67" fmla="*/ 1358 h 1943"/>
                <a:gd name="T68" fmla="*/ 567 w 1900"/>
                <a:gd name="T69" fmla="*/ 1456 h 1943"/>
                <a:gd name="T70" fmla="*/ 1405 w 1900"/>
                <a:gd name="T71" fmla="*/ 1455 h 1943"/>
                <a:gd name="T72" fmla="*/ 1727 w 1900"/>
                <a:gd name="T73" fmla="*/ 1629 h 1943"/>
                <a:gd name="T74" fmla="*/ 1311 w 1900"/>
                <a:gd name="T75" fmla="*/ 1629 h 1943"/>
                <a:gd name="T76" fmla="*/ 1405 w 1900"/>
                <a:gd name="T77" fmla="*/ 1455 h 1943"/>
                <a:gd name="T78" fmla="*/ 1180 w 1900"/>
                <a:gd name="T79" fmla="*/ 1252 h 1943"/>
                <a:gd name="T80" fmla="*/ 798 w 1900"/>
                <a:gd name="T81" fmla="*/ 1231 h 1943"/>
                <a:gd name="T82" fmla="*/ 695 w 1900"/>
                <a:gd name="T83" fmla="*/ 1002 h 1943"/>
                <a:gd name="T84" fmla="*/ 802 w 1900"/>
                <a:gd name="T85" fmla="*/ 770 h 1943"/>
                <a:gd name="T86" fmla="*/ 1106 w 1900"/>
                <a:gd name="T87" fmla="*/ 713 h 1943"/>
                <a:gd name="T88" fmla="*/ 1309 w 1900"/>
                <a:gd name="T89" fmla="*/ 980 h 1943"/>
                <a:gd name="T90" fmla="*/ 1309 w 1900"/>
                <a:gd name="T91" fmla="*/ 1024 h 1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00" h="1943">
                  <a:moveTo>
                    <a:pt x="1353" y="1024"/>
                  </a:moveTo>
                  <a:cubicBezTo>
                    <a:pt x="1519" y="1024"/>
                    <a:pt x="1519" y="1024"/>
                    <a:pt x="1519" y="1024"/>
                  </a:cubicBezTo>
                  <a:cubicBezTo>
                    <a:pt x="1530" y="1119"/>
                    <a:pt x="1611" y="1193"/>
                    <a:pt x="1709" y="1193"/>
                  </a:cubicBezTo>
                  <a:cubicBezTo>
                    <a:pt x="1814" y="1193"/>
                    <a:pt x="1900" y="1107"/>
                    <a:pt x="1900" y="1002"/>
                  </a:cubicBezTo>
                  <a:cubicBezTo>
                    <a:pt x="1900" y="897"/>
                    <a:pt x="1814" y="811"/>
                    <a:pt x="1709" y="811"/>
                  </a:cubicBezTo>
                  <a:cubicBezTo>
                    <a:pt x="1611" y="811"/>
                    <a:pt x="1530" y="885"/>
                    <a:pt x="1519" y="980"/>
                  </a:cubicBezTo>
                  <a:cubicBezTo>
                    <a:pt x="1353" y="980"/>
                    <a:pt x="1353" y="980"/>
                    <a:pt x="1353" y="980"/>
                  </a:cubicBezTo>
                  <a:cubicBezTo>
                    <a:pt x="1345" y="854"/>
                    <a:pt x="1270" y="745"/>
                    <a:pt x="1164" y="690"/>
                  </a:cubicBezTo>
                  <a:cubicBezTo>
                    <a:pt x="1314" y="348"/>
                    <a:pt x="1314" y="348"/>
                    <a:pt x="1314" y="348"/>
                  </a:cubicBezTo>
                  <a:cubicBezTo>
                    <a:pt x="1327" y="352"/>
                    <a:pt x="1341" y="354"/>
                    <a:pt x="1356" y="354"/>
                  </a:cubicBezTo>
                  <a:cubicBezTo>
                    <a:pt x="1441" y="354"/>
                    <a:pt x="1511" y="284"/>
                    <a:pt x="1511" y="199"/>
                  </a:cubicBezTo>
                  <a:cubicBezTo>
                    <a:pt x="1511" y="113"/>
                    <a:pt x="1441" y="44"/>
                    <a:pt x="1356" y="44"/>
                  </a:cubicBezTo>
                  <a:cubicBezTo>
                    <a:pt x="1270" y="44"/>
                    <a:pt x="1201" y="113"/>
                    <a:pt x="1201" y="199"/>
                  </a:cubicBezTo>
                  <a:cubicBezTo>
                    <a:pt x="1201" y="254"/>
                    <a:pt x="1230" y="303"/>
                    <a:pt x="1274" y="330"/>
                  </a:cubicBezTo>
                  <a:cubicBezTo>
                    <a:pt x="1123" y="672"/>
                    <a:pt x="1123" y="672"/>
                    <a:pt x="1123" y="672"/>
                  </a:cubicBezTo>
                  <a:cubicBezTo>
                    <a:pt x="1086" y="659"/>
                    <a:pt x="1045" y="651"/>
                    <a:pt x="1003" y="651"/>
                  </a:cubicBezTo>
                  <a:cubicBezTo>
                    <a:pt x="914" y="651"/>
                    <a:pt x="832" y="684"/>
                    <a:pt x="770" y="739"/>
                  </a:cubicBezTo>
                  <a:cubicBezTo>
                    <a:pt x="445" y="413"/>
                    <a:pt x="445" y="413"/>
                    <a:pt x="445" y="413"/>
                  </a:cubicBezTo>
                  <a:cubicBezTo>
                    <a:pt x="482" y="370"/>
                    <a:pt x="504" y="313"/>
                    <a:pt x="504" y="252"/>
                  </a:cubicBezTo>
                  <a:cubicBezTo>
                    <a:pt x="504" y="113"/>
                    <a:pt x="391" y="0"/>
                    <a:pt x="252" y="0"/>
                  </a:cubicBezTo>
                  <a:cubicBezTo>
                    <a:pt x="113" y="0"/>
                    <a:pt x="0" y="113"/>
                    <a:pt x="0" y="252"/>
                  </a:cubicBezTo>
                  <a:cubicBezTo>
                    <a:pt x="0" y="391"/>
                    <a:pt x="113" y="504"/>
                    <a:pt x="252" y="504"/>
                  </a:cubicBezTo>
                  <a:cubicBezTo>
                    <a:pt x="314" y="504"/>
                    <a:pt x="370" y="481"/>
                    <a:pt x="414" y="445"/>
                  </a:cubicBezTo>
                  <a:cubicBezTo>
                    <a:pt x="739" y="770"/>
                    <a:pt x="739" y="770"/>
                    <a:pt x="739" y="770"/>
                  </a:cubicBezTo>
                  <a:cubicBezTo>
                    <a:pt x="685" y="832"/>
                    <a:pt x="651" y="913"/>
                    <a:pt x="651" y="1002"/>
                  </a:cubicBezTo>
                  <a:cubicBezTo>
                    <a:pt x="651" y="1089"/>
                    <a:pt x="683" y="1169"/>
                    <a:pt x="736" y="1230"/>
                  </a:cubicBezTo>
                  <a:cubicBezTo>
                    <a:pt x="568" y="1394"/>
                    <a:pt x="568" y="1394"/>
                    <a:pt x="568" y="1394"/>
                  </a:cubicBezTo>
                  <a:cubicBezTo>
                    <a:pt x="512" y="1345"/>
                    <a:pt x="439" y="1314"/>
                    <a:pt x="359" y="1314"/>
                  </a:cubicBezTo>
                  <a:cubicBezTo>
                    <a:pt x="186" y="1314"/>
                    <a:pt x="45" y="1455"/>
                    <a:pt x="45" y="1629"/>
                  </a:cubicBezTo>
                  <a:cubicBezTo>
                    <a:pt x="45" y="1802"/>
                    <a:pt x="186" y="1943"/>
                    <a:pt x="359" y="1943"/>
                  </a:cubicBezTo>
                  <a:cubicBezTo>
                    <a:pt x="532" y="1943"/>
                    <a:pt x="673" y="1802"/>
                    <a:pt x="673" y="1629"/>
                  </a:cubicBezTo>
                  <a:cubicBezTo>
                    <a:pt x="673" y="1551"/>
                    <a:pt x="645" y="1481"/>
                    <a:pt x="599" y="1426"/>
                  </a:cubicBezTo>
                  <a:cubicBezTo>
                    <a:pt x="767" y="1262"/>
                    <a:pt x="767" y="1262"/>
                    <a:pt x="767" y="1262"/>
                  </a:cubicBezTo>
                  <a:cubicBezTo>
                    <a:pt x="829" y="1319"/>
                    <a:pt x="912" y="1353"/>
                    <a:pt x="1003" y="1353"/>
                  </a:cubicBezTo>
                  <a:cubicBezTo>
                    <a:pt x="1079" y="1353"/>
                    <a:pt x="1151" y="1328"/>
                    <a:pt x="1208" y="1286"/>
                  </a:cubicBezTo>
                  <a:cubicBezTo>
                    <a:pt x="1343" y="1449"/>
                    <a:pt x="1343" y="1449"/>
                    <a:pt x="1343" y="1449"/>
                  </a:cubicBezTo>
                  <a:cubicBezTo>
                    <a:pt x="1296" y="1495"/>
                    <a:pt x="1267" y="1558"/>
                    <a:pt x="1267" y="1629"/>
                  </a:cubicBezTo>
                  <a:cubicBezTo>
                    <a:pt x="1267" y="1767"/>
                    <a:pt x="1380" y="1880"/>
                    <a:pt x="1519" y="1880"/>
                  </a:cubicBezTo>
                  <a:cubicBezTo>
                    <a:pt x="1658" y="1880"/>
                    <a:pt x="1771" y="1767"/>
                    <a:pt x="1771" y="1629"/>
                  </a:cubicBezTo>
                  <a:cubicBezTo>
                    <a:pt x="1771" y="1490"/>
                    <a:pt x="1658" y="1377"/>
                    <a:pt x="1519" y="1377"/>
                  </a:cubicBezTo>
                  <a:cubicBezTo>
                    <a:pt x="1466" y="1377"/>
                    <a:pt x="1417" y="1393"/>
                    <a:pt x="1377" y="1421"/>
                  </a:cubicBezTo>
                  <a:cubicBezTo>
                    <a:pt x="1242" y="1258"/>
                    <a:pt x="1242" y="1258"/>
                    <a:pt x="1242" y="1258"/>
                  </a:cubicBezTo>
                  <a:cubicBezTo>
                    <a:pt x="1306" y="1199"/>
                    <a:pt x="1347" y="1116"/>
                    <a:pt x="1353" y="1024"/>
                  </a:cubicBezTo>
                  <a:close/>
                  <a:moveTo>
                    <a:pt x="1563" y="980"/>
                  </a:moveTo>
                  <a:cubicBezTo>
                    <a:pt x="1574" y="909"/>
                    <a:pt x="1635" y="855"/>
                    <a:pt x="1709" y="855"/>
                  </a:cubicBezTo>
                  <a:cubicBezTo>
                    <a:pt x="1790" y="855"/>
                    <a:pt x="1856" y="921"/>
                    <a:pt x="1856" y="1002"/>
                  </a:cubicBezTo>
                  <a:cubicBezTo>
                    <a:pt x="1856" y="1083"/>
                    <a:pt x="1790" y="1149"/>
                    <a:pt x="1709" y="1149"/>
                  </a:cubicBezTo>
                  <a:cubicBezTo>
                    <a:pt x="1635" y="1149"/>
                    <a:pt x="1574" y="1095"/>
                    <a:pt x="1563" y="1024"/>
                  </a:cubicBezTo>
                  <a:cubicBezTo>
                    <a:pt x="1562" y="1017"/>
                    <a:pt x="1562" y="1009"/>
                    <a:pt x="1562" y="1002"/>
                  </a:cubicBezTo>
                  <a:cubicBezTo>
                    <a:pt x="1562" y="995"/>
                    <a:pt x="1562" y="987"/>
                    <a:pt x="1563" y="980"/>
                  </a:cubicBezTo>
                  <a:close/>
                  <a:moveTo>
                    <a:pt x="1245" y="199"/>
                  </a:moveTo>
                  <a:cubicBezTo>
                    <a:pt x="1245" y="138"/>
                    <a:pt x="1294" y="88"/>
                    <a:pt x="1356" y="88"/>
                  </a:cubicBezTo>
                  <a:cubicBezTo>
                    <a:pt x="1417" y="88"/>
                    <a:pt x="1467" y="138"/>
                    <a:pt x="1467" y="199"/>
                  </a:cubicBezTo>
                  <a:cubicBezTo>
                    <a:pt x="1467" y="260"/>
                    <a:pt x="1417" y="310"/>
                    <a:pt x="1356" y="310"/>
                  </a:cubicBezTo>
                  <a:cubicBezTo>
                    <a:pt x="1348" y="310"/>
                    <a:pt x="1340" y="309"/>
                    <a:pt x="1332" y="307"/>
                  </a:cubicBezTo>
                  <a:cubicBezTo>
                    <a:pt x="1317" y="304"/>
                    <a:pt x="1304" y="298"/>
                    <a:pt x="1292" y="289"/>
                  </a:cubicBezTo>
                  <a:cubicBezTo>
                    <a:pt x="1263" y="269"/>
                    <a:pt x="1245" y="236"/>
                    <a:pt x="1245" y="199"/>
                  </a:cubicBezTo>
                  <a:close/>
                  <a:moveTo>
                    <a:pt x="252" y="460"/>
                  </a:moveTo>
                  <a:cubicBezTo>
                    <a:pt x="138" y="460"/>
                    <a:pt x="44" y="367"/>
                    <a:pt x="44" y="252"/>
                  </a:cubicBezTo>
                  <a:cubicBezTo>
                    <a:pt x="44" y="137"/>
                    <a:pt x="138" y="44"/>
                    <a:pt x="252" y="44"/>
                  </a:cubicBezTo>
                  <a:cubicBezTo>
                    <a:pt x="367" y="44"/>
                    <a:pt x="460" y="137"/>
                    <a:pt x="460" y="252"/>
                  </a:cubicBezTo>
                  <a:cubicBezTo>
                    <a:pt x="460" y="301"/>
                    <a:pt x="443" y="347"/>
                    <a:pt x="414" y="382"/>
                  </a:cubicBezTo>
                  <a:cubicBezTo>
                    <a:pt x="405" y="394"/>
                    <a:pt x="394" y="404"/>
                    <a:pt x="383" y="413"/>
                  </a:cubicBezTo>
                  <a:cubicBezTo>
                    <a:pt x="347" y="442"/>
                    <a:pt x="302" y="460"/>
                    <a:pt x="252" y="460"/>
                  </a:cubicBezTo>
                  <a:close/>
                  <a:moveTo>
                    <a:pt x="629" y="1629"/>
                  </a:moveTo>
                  <a:cubicBezTo>
                    <a:pt x="629" y="1778"/>
                    <a:pt x="508" y="1899"/>
                    <a:pt x="359" y="1899"/>
                  </a:cubicBezTo>
                  <a:cubicBezTo>
                    <a:pt x="210" y="1899"/>
                    <a:pt x="89" y="1778"/>
                    <a:pt x="89" y="1629"/>
                  </a:cubicBezTo>
                  <a:cubicBezTo>
                    <a:pt x="89" y="1479"/>
                    <a:pt x="210" y="1358"/>
                    <a:pt x="359" y="1358"/>
                  </a:cubicBezTo>
                  <a:cubicBezTo>
                    <a:pt x="427" y="1358"/>
                    <a:pt x="489" y="1383"/>
                    <a:pt x="536" y="1425"/>
                  </a:cubicBezTo>
                  <a:cubicBezTo>
                    <a:pt x="547" y="1435"/>
                    <a:pt x="558" y="1445"/>
                    <a:pt x="567" y="1456"/>
                  </a:cubicBezTo>
                  <a:cubicBezTo>
                    <a:pt x="606" y="1503"/>
                    <a:pt x="629" y="1563"/>
                    <a:pt x="629" y="1629"/>
                  </a:cubicBezTo>
                  <a:close/>
                  <a:moveTo>
                    <a:pt x="1405" y="1455"/>
                  </a:moveTo>
                  <a:cubicBezTo>
                    <a:pt x="1437" y="1433"/>
                    <a:pt x="1477" y="1421"/>
                    <a:pt x="1519" y="1421"/>
                  </a:cubicBezTo>
                  <a:cubicBezTo>
                    <a:pt x="1634" y="1421"/>
                    <a:pt x="1727" y="1514"/>
                    <a:pt x="1727" y="1629"/>
                  </a:cubicBezTo>
                  <a:cubicBezTo>
                    <a:pt x="1727" y="1743"/>
                    <a:pt x="1634" y="1836"/>
                    <a:pt x="1519" y="1836"/>
                  </a:cubicBezTo>
                  <a:cubicBezTo>
                    <a:pt x="1404" y="1836"/>
                    <a:pt x="1311" y="1743"/>
                    <a:pt x="1311" y="1629"/>
                  </a:cubicBezTo>
                  <a:cubicBezTo>
                    <a:pt x="1311" y="1572"/>
                    <a:pt x="1334" y="1521"/>
                    <a:pt x="1371" y="1483"/>
                  </a:cubicBezTo>
                  <a:cubicBezTo>
                    <a:pt x="1381" y="1473"/>
                    <a:pt x="1392" y="1463"/>
                    <a:pt x="1405" y="1455"/>
                  </a:cubicBezTo>
                  <a:close/>
                  <a:moveTo>
                    <a:pt x="1214" y="1224"/>
                  </a:moveTo>
                  <a:cubicBezTo>
                    <a:pt x="1204" y="1234"/>
                    <a:pt x="1192" y="1244"/>
                    <a:pt x="1180" y="1252"/>
                  </a:cubicBezTo>
                  <a:cubicBezTo>
                    <a:pt x="1130" y="1288"/>
                    <a:pt x="1069" y="1309"/>
                    <a:pt x="1003" y="1309"/>
                  </a:cubicBezTo>
                  <a:cubicBezTo>
                    <a:pt x="924" y="1309"/>
                    <a:pt x="853" y="1280"/>
                    <a:pt x="798" y="1231"/>
                  </a:cubicBezTo>
                  <a:cubicBezTo>
                    <a:pt x="787" y="1222"/>
                    <a:pt x="777" y="1211"/>
                    <a:pt x="768" y="1200"/>
                  </a:cubicBezTo>
                  <a:cubicBezTo>
                    <a:pt x="723" y="1146"/>
                    <a:pt x="695" y="1077"/>
                    <a:pt x="695" y="1002"/>
                  </a:cubicBezTo>
                  <a:cubicBezTo>
                    <a:pt x="695" y="925"/>
                    <a:pt x="724" y="855"/>
                    <a:pt x="770" y="801"/>
                  </a:cubicBezTo>
                  <a:cubicBezTo>
                    <a:pt x="780" y="790"/>
                    <a:pt x="790" y="780"/>
                    <a:pt x="802" y="770"/>
                  </a:cubicBezTo>
                  <a:cubicBezTo>
                    <a:pt x="855" y="723"/>
                    <a:pt x="926" y="695"/>
                    <a:pt x="1003" y="695"/>
                  </a:cubicBezTo>
                  <a:cubicBezTo>
                    <a:pt x="1039" y="695"/>
                    <a:pt x="1073" y="701"/>
                    <a:pt x="1106" y="713"/>
                  </a:cubicBezTo>
                  <a:cubicBezTo>
                    <a:pt x="1120" y="718"/>
                    <a:pt x="1133" y="724"/>
                    <a:pt x="1146" y="730"/>
                  </a:cubicBezTo>
                  <a:cubicBezTo>
                    <a:pt x="1237" y="779"/>
                    <a:pt x="1301" y="872"/>
                    <a:pt x="1309" y="980"/>
                  </a:cubicBezTo>
                  <a:cubicBezTo>
                    <a:pt x="1309" y="987"/>
                    <a:pt x="1310" y="995"/>
                    <a:pt x="1310" y="1002"/>
                  </a:cubicBezTo>
                  <a:cubicBezTo>
                    <a:pt x="1310" y="1009"/>
                    <a:pt x="1309" y="1017"/>
                    <a:pt x="1309" y="1024"/>
                  </a:cubicBezTo>
                  <a:cubicBezTo>
                    <a:pt x="1303" y="1103"/>
                    <a:pt x="1268" y="1173"/>
                    <a:pt x="1214" y="1224"/>
                  </a:cubicBezTo>
                  <a:close/>
                </a:path>
              </a:pathLst>
            </a:custGeom>
            <a:solidFill>
              <a:srgbClr val="20A6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>
              <a:extLst>
                <a:ext uri="{FF2B5EF4-FFF2-40B4-BE49-F238E27FC236}">
                  <a16:creationId xmlns:a16="http://schemas.microsoft.com/office/drawing/2014/main" id="{57FF4323-FDF1-4F37-9309-5309F6BD9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9504" y="2764424"/>
              <a:ext cx="1312612" cy="1345000"/>
            </a:xfrm>
            <a:custGeom>
              <a:avLst/>
              <a:gdLst>
                <a:gd name="connsiteX0" fmla="*/ 1089071 w 1312612"/>
                <a:gd name="connsiteY0" fmla="*/ 1048073 h 1345000"/>
                <a:gd name="connsiteX1" fmla="*/ 1214102 w 1312612"/>
                <a:gd name="connsiteY1" fmla="*/ 1172563 h 1345000"/>
                <a:gd name="connsiteX2" fmla="*/ 1089071 w 1312612"/>
                <a:gd name="connsiteY2" fmla="*/ 1297053 h 1345000"/>
                <a:gd name="connsiteX3" fmla="*/ 964040 w 1312612"/>
                <a:gd name="connsiteY3" fmla="*/ 1172563 h 1345000"/>
                <a:gd name="connsiteX4" fmla="*/ 1089071 w 1312612"/>
                <a:gd name="connsiteY4" fmla="*/ 1048073 h 1345000"/>
                <a:gd name="connsiteX5" fmla="*/ 205860 w 1312612"/>
                <a:gd name="connsiteY5" fmla="*/ 1000128 h 1345000"/>
                <a:gd name="connsiteX6" fmla="*/ 378041 w 1312612"/>
                <a:gd name="connsiteY6" fmla="*/ 1172564 h 1345000"/>
                <a:gd name="connsiteX7" fmla="*/ 205860 w 1312612"/>
                <a:gd name="connsiteY7" fmla="*/ 1345000 h 1345000"/>
                <a:gd name="connsiteX8" fmla="*/ 33679 w 1312612"/>
                <a:gd name="connsiteY8" fmla="*/ 1172564 h 1345000"/>
                <a:gd name="connsiteX9" fmla="*/ 205860 w 1312612"/>
                <a:gd name="connsiteY9" fmla="*/ 1000128 h 1345000"/>
                <a:gd name="connsiteX10" fmla="*/ 1233888 w 1312612"/>
                <a:gd name="connsiteY10" fmla="*/ 617404 h 1345000"/>
                <a:gd name="connsiteX11" fmla="*/ 1312612 w 1312612"/>
                <a:gd name="connsiteY11" fmla="*/ 695631 h 1345000"/>
                <a:gd name="connsiteX12" fmla="*/ 1233888 w 1312612"/>
                <a:gd name="connsiteY12" fmla="*/ 773858 h 1345000"/>
                <a:gd name="connsiteX13" fmla="*/ 1155164 w 1312612"/>
                <a:gd name="connsiteY13" fmla="*/ 695631 h 1345000"/>
                <a:gd name="connsiteX14" fmla="*/ 1233888 w 1312612"/>
                <a:gd name="connsiteY14" fmla="*/ 617404 h 1345000"/>
                <a:gd name="connsiteX15" fmla="*/ 695878 w 1312612"/>
                <a:gd name="connsiteY15" fmla="*/ 495438 h 1345000"/>
                <a:gd name="connsiteX16" fmla="*/ 896685 w 1312612"/>
                <a:gd name="connsiteY16" fmla="*/ 695632 h 1345000"/>
                <a:gd name="connsiteX17" fmla="*/ 695878 w 1312612"/>
                <a:gd name="connsiteY17" fmla="*/ 895826 h 1345000"/>
                <a:gd name="connsiteX18" fmla="*/ 495071 w 1312612"/>
                <a:gd name="connsiteY18" fmla="*/ 695632 h 1345000"/>
                <a:gd name="connsiteX19" fmla="*/ 695878 w 1312612"/>
                <a:gd name="connsiteY19" fmla="*/ 495438 h 1345000"/>
                <a:gd name="connsiteX20" fmla="*/ 965304 w 1312612"/>
                <a:gd name="connsiteY20" fmla="*/ 33646 h 1345000"/>
                <a:gd name="connsiteX21" fmla="*/ 1016243 w 1312612"/>
                <a:gd name="connsiteY21" fmla="*/ 84536 h 1345000"/>
                <a:gd name="connsiteX22" fmla="*/ 965304 w 1312612"/>
                <a:gd name="connsiteY22" fmla="*/ 135426 h 1345000"/>
                <a:gd name="connsiteX23" fmla="*/ 914365 w 1312612"/>
                <a:gd name="connsiteY23" fmla="*/ 84536 h 1345000"/>
                <a:gd name="connsiteX24" fmla="*/ 965304 w 1312612"/>
                <a:gd name="connsiteY24" fmla="*/ 33646 h 1345000"/>
                <a:gd name="connsiteX25" fmla="*/ 124610 w 1312612"/>
                <a:gd name="connsiteY25" fmla="*/ 0 h 1345000"/>
                <a:gd name="connsiteX26" fmla="*/ 249220 w 1312612"/>
                <a:gd name="connsiteY26" fmla="*/ 124911 h 1345000"/>
                <a:gd name="connsiteX27" fmla="*/ 124610 w 1312612"/>
                <a:gd name="connsiteY27" fmla="*/ 249822 h 1345000"/>
                <a:gd name="connsiteX28" fmla="*/ 0 w 1312612"/>
                <a:gd name="connsiteY28" fmla="*/ 124911 h 1345000"/>
                <a:gd name="connsiteX29" fmla="*/ 124610 w 1312612"/>
                <a:gd name="connsiteY29" fmla="*/ 0 h 13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12612" h="1345000">
                  <a:moveTo>
                    <a:pt x="1089071" y="1048073"/>
                  </a:moveTo>
                  <a:cubicBezTo>
                    <a:pt x="1158124" y="1048073"/>
                    <a:pt x="1214102" y="1103809"/>
                    <a:pt x="1214102" y="1172563"/>
                  </a:cubicBezTo>
                  <a:cubicBezTo>
                    <a:pt x="1214102" y="1241317"/>
                    <a:pt x="1158124" y="1297053"/>
                    <a:pt x="1089071" y="1297053"/>
                  </a:cubicBezTo>
                  <a:cubicBezTo>
                    <a:pt x="1020018" y="1297053"/>
                    <a:pt x="964040" y="1241317"/>
                    <a:pt x="964040" y="1172563"/>
                  </a:cubicBezTo>
                  <a:cubicBezTo>
                    <a:pt x="964040" y="1103809"/>
                    <a:pt x="1020018" y="1048073"/>
                    <a:pt x="1089071" y="1048073"/>
                  </a:cubicBezTo>
                  <a:close/>
                  <a:moveTo>
                    <a:pt x="205860" y="1000128"/>
                  </a:moveTo>
                  <a:cubicBezTo>
                    <a:pt x="300953" y="1000128"/>
                    <a:pt x="378041" y="1077330"/>
                    <a:pt x="378041" y="1172564"/>
                  </a:cubicBezTo>
                  <a:cubicBezTo>
                    <a:pt x="378041" y="1267798"/>
                    <a:pt x="300953" y="1345000"/>
                    <a:pt x="205860" y="1345000"/>
                  </a:cubicBezTo>
                  <a:cubicBezTo>
                    <a:pt x="110767" y="1345000"/>
                    <a:pt x="33679" y="1267798"/>
                    <a:pt x="33679" y="1172564"/>
                  </a:cubicBezTo>
                  <a:cubicBezTo>
                    <a:pt x="33679" y="1077330"/>
                    <a:pt x="110767" y="1000128"/>
                    <a:pt x="205860" y="1000128"/>
                  </a:cubicBezTo>
                  <a:close/>
                  <a:moveTo>
                    <a:pt x="1233888" y="617404"/>
                  </a:moveTo>
                  <a:cubicBezTo>
                    <a:pt x="1277366" y="617404"/>
                    <a:pt x="1312612" y="652427"/>
                    <a:pt x="1312612" y="695631"/>
                  </a:cubicBezTo>
                  <a:cubicBezTo>
                    <a:pt x="1312612" y="738835"/>
                    <a:pt x="1277366" y="773858"/>
                    <a:pt x="1233888" y="773858"/>
                  </a:cubicBezTo>
                  <a:cubicBezTo>
                    <a:pt x="1190410" y="773858"/>
                    <a:pt x="1155164" y="738835"/>
                    <a:pt x="1155164" y="695631"/>
                  </a:cubicBezTo>
                  <a:cubicBezTo>
                    <a:pt x="1155164" y="652427"/>
                    <a:pt x="1190410" y="617404"/>
                    <a:pt x="1233888" y="617404"/>
                  </a:cubicBezTo>
                  <a:close/>
                  <a:moveTo>
                    <a:pt x="695878" y="495438"/>
                  </a:moveTo>
                  <a:cubicBezTo>
                    <a:pt x="806781" y="495438"/>
                    <a:pt x="896685" y="585068"/>
                    <a:pt x="896685" y="695632"/>
                  </a:cubicBezTo>
                  <a:cubicBezTo>
                    <a:pt x="896685" y="806196"/>
                    <a:pt x="806781" y="895826"/>
                    <a:pt x="695878" y="895826"/>
                  </a:cubicBezTo>
                  <a:cubicBezTo>
                    <a:pt x="584975" y="895826"/>
                    <a:pt x="495071" y="806196"/>
                    <a:pt x="495071" y="695632"/>
                  </a:cubicBezTo>
                  <a:cubicBezTo>
                    <a:pt x="495071" y="585068"/>
                    <a:pt x="584975" y="495438"/>
                    <a:pt x="695878" y="495438"/>
                  </a:cubicBezTo>
                  <a:close/>
                  <a:moveTo>
                    <a:pt x="965304" y="33646"/>
                  </a:moveTo>
                  <a:cubicBezTo>
                    <a:pt x="993437" y="33646"/>
                    <a:pt x="1016243" y="56430"/>
                    <a:pt x="1016243" y="84536"/>
                  </a:cubicBezTo>
                  <a:cubicBezTo>
                    <a:pt x="1016243" y="112642"/>
                    <a:pt x="993437" y="135426"/>
                    <a:pt x="965304" y="135426"/>
                  </a:cubicBezTo>
                  <a:cubicBezTo>
                    <a:pt x="937171" y="135426"/>
                    <a:pt x="914365" y="112642"/>
                    <a:pt x="914365" y="84536"/>
                  </a:cubicBezTo>
                  <a:cubicBezTo>
                    <a:pt x="914365" y="56430"/>
                    <a:pt x="937171" y="33646"/>
                    <a:pt x="965304" y="33646"/>
                  </a:cubicBezTo>
                  <a:close/>
                  <a:moveTo>
                    <a:pt x="124610" y="0"/>
                  </a:moveTo>
                  <a:cubicBezTo>
                    <a:pt x="193430" y="0"/>
                    <a:pt x="249220" y="55925"/>
                    <a:pt x="249220" y="124911"/>
                  </a:cubicBezTo>
                  <a:cubicBezTo>
                    <a:pt x="249220" y="193897"/>
                    <a:pt x="193430" y="249822"/>
                    <a:pt x="124610" y="249822"/>
                  </a:cubicBezTo>
                  <a:cubicBezTo>
                    <a:pt x="55790" y="249822"/>
                    <a:pt x="0" y="193897"/>
                    <a:pt x="0" y="124911"/>
                  </a:cubicBezTo>
                  <a:cubicBezTo>
                    <a:pt x="0" y="55925"/>
                    <a:pt x="55790" y="0"/>
                    <a:pt x="124610" y="0"/>
                  </a:cubicBezTo>
                  <a:close/>
                </a:path>
              </a:pathLst>
            </a:custGeom>
            <a:solidFill>
              <a:srgbClr val="33996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pic>
        <p:nvPicPr>
          <p:cNvPr id="157" name="Picture 156">
            <a:extLst>
              <a:ext uri="{FF2B5EF4-FFF2-40B4-BE49-F238E27FC236}">
                <a16:creationId xmlns:a16="http://schemas.microsoft.com/office/drawing/2014/main" id="{CED8D9E0-3235-4CBD-A75B-F7CB8CCBE0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04085" y="2601648"/>
            <a:ext cx="1771496" cy="1282808"/>
          </a:xfrm>
          <a:prstGeom prst="rect">
            <a:avLst/>
          </a:prstGeom>
        </p:spPr>
      </p:pic>
      <p:sp>
        <p:nvSpPr>
          <p:cNvPr id="160" name="object 24">
            <a:extLst>
              <a:ext uri="{FF2B5EF4-FFF2-40B4-BE49-F238E27FC236}">
                <a16:creationId xmlns:a16="http://schemas.microsoft.com/office/drawing/2014/main" id="{91344C1F-CB6C-46D0-9F70-9FA3851EC5D0}"/>
              </a:ext>
            </a:extLst>
          </p:cNvPr>
          <p:cNvSpPr txBox="1"/>
          <p:nvPr/>
        </p:nvSpPr>
        <p:spPr>
          <a:xfrm>
            <a:off x="7196849" y="2479017"/>
            <a:ext cx="3291840" cy="1981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 defTabSz="457200">
              <a:spcBef>
                <a:spcPts val="105"/>
              </a:spcBef>
            </a:pPr>
            <a:r>
              <a:rPr lang="en-US" sz="1200" i="1" spc="-10" dirty="0">
                <a:cs typeface="Trebuchet MS"/>
              </a:rPr>
              <a:t>Transport network</a:t>
            </a:r>
            <a:endParaRPr sz="1200" i="1" dirty="0">
              <a:cs typeface="Trebuchet MS"/>
            </a:endParaRPr>
          </a:p>
        </p:txBody>
      </p: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0B01E537-F970-4A13-B682-416D5A116059}"/>
              </a:ext>
            </a:extLst>
          </p:cNvPr>
          <p:cNvCxnSpPr>
            <a:cxnSpLocks/>
          </p:cNvCxnSpPr>
          <p:nvPr/>
        </p:nvCxnSpPr>
        <p:spPr>
          <a:xfrm>
            <a:off x="2581225" y="3065277"/>
            <a:ext cx="1944245" cy="38959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D89799E7-E2AB-4974-8907-612F8AF4A83C}"/>
              </a:ext>
            </a:extLst>
          </p:cNvPr>
          <p:cNvCxnSpPr>
            <a:cxnSpLocks/>
          </p:cNvCxnSpPr>
          <p:nvPr/>
        </p:nvCxnSpPr>
        <p:spPr>
          <a:xfrm>
            <a:off x="8514271" y="2820550"/>
            <a:ext cx="1915421" cy="36116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34ABBF2A-A54B-415E-B3D0-6690A8425902}"/>
              </a:ext>
            </a:extLst>
          </p:cNvPr>
          <p:cNvCxnSpPr>
            <a:cxnSpLocks/>
          </p:cNvCxnSpPr>
          <p:nvPr/>
        </p:nvCxnSpPr>
        <p:spPr>
          <a:xfrm>
            <a:off x="4511439" y="3448580"/>
            <a:ext cx="1871997" cy="121753"/>
          </a:xfrm>
          <a:prstGeom prst="bentConnector3">
            <a:avLst>
              <a:gd name="adj1" fmla="val 85532"/>
            </a:avLst>
          </a:prstGeom>
          <a:noFill/>
          <a:ln w="190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7E8D3E8F-E768-40F2-9926-FEF186CFC756}"/>
              </a:ext>
            </a:extLst>
          </p:cNvPr>
          <p:cNvGrpSpPr/>
          <p:nvPr/>
        </p:nvGrpSpPr>
        <p:grpSpPr>
          <a:xfrm>
            <a:off x="631617" y="4244693"/>
            <a:ext cx="10878407" cy="455957"/>
            <a:chOff x="7778424" y="3210145"/>
            <a:chExt cx="3444752" cy="1597475"/>
          </a:xfrm>
          <a:solidFill>
            <a:srgbClr val="1FAA83"/>
          </a:solidFill>
        </p:grpSpPr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8B910B09-C384-45DD-B8E3-A0010FC62AFE}"/>
                </a:ext>
              </a:extLst>
            </p:cNvPr>
            <p:cNvSpPr/>
            <p:nvPr/>
          </p:nvSpPr>
          <p:spPr>
            <a:xfrm>
              <a:off x="7778424" y="3210145"/>
              <a:ext cx="3444752" cy="1597475"/>
            </a:xfrm>
            <a:prstGeom prst="rect">
              <a:avLst/>
            </a:prstGeom>
            <a:solidFill>
              <a:srgbClr val="1B9C87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109728" tIns="109728" rIns="109728" bIns="1097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B5DE185-59D6-4CD2-BC3A-6EA3A7DA2122}"/>
                </a:ext>
              </a:extLst>
            </p:cNvPr>
            <p:cNvSpPr/>
            <p:nvPr/>
          </p:nvSpPr>
          <p:spPr>
            <a:xfrm>
              <a:off x="7832958" y="3408209"/>
              <a:ext cx="3340748" cy="1201344"/>
            </a:xfrm>
            <a:prstGeom prst="rect">
              <a:avLst/>
            </a:prstGeom>
            <a:solidFill>
              <a:srgbClr val="F2F2F2"/>
            </a:solidFill>
            <a:ln w="25400" cap="flat" cmpd="sng" algn="ctr">
              <a:noFill/>
              <a:prstDash val="solid"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9728" tIns="109728" rIns="109728" bIns="109728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The absence of a neutral IXP would have an impact on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B46A1F0-2B8C-44A8-B344-1C648E90922F}"/>
              </a:ext>
            </a:extLst>
          </p:cNvPr>
          <p:cNvGrpSpPr/>
          <p:nvPr/>
        </p:nvGrpSpPr>
        <p:grpSpPr>
          <a:xfrm>
            <a:off x="9045406" y="4824910"/>
            <a:ext cx="2483475" cy="1389447"/>
            <a:chOff x="631618" y="4850478"/>
            <a:chExt cx="2483475" cy="1389447"/>
          </a:xfrm>
        </p:grpSpPr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1AB42ED5-B268-4C83-87F5-4B5A710C3B57}"/>
                </a:ext>
              </a:extLst>
            </p:cNvPr>
            <p:cNvGrpSpPr/>
            <p:nvPr/>
          </p:nvGrpSpPr>
          <p:grpSpPr>
            <a:xfrm>
              <a:off x="631618" y="4850478"/>
              <a:ext cx="2483475" cy="1389447"/>
              <a:chOff x="-2148517" y="7068192"/>
              <a:chExt cx="2483475" cy="1389447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B003F07-F2C1-4D2B-B775-42A836808C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148517" y="7068192"/>
                <a:ext cx="2483475" cy="1389447"/>
              </a:xfrm>
              <a:prstGeom prst="rect">
                <a:avLst/>
              </a:prstGeom>
              <a:solidFill>
                <a:srgbClr val="B0B9BE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640080" rtlCol="0" anchor="t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8A665C7D-406D-4183-AA13-BE3EACB9FA00}"/>
                  </a:ext>
                </a:extLst>
              </p:cNvPr>
              <p:cNvSpPr/>
              <p:nvPr/>
            </p:nvSpPr>
            <p:spPr>
              <a:xfrm>
                <a:off x="-2051526" y="7654467"/>
                <a:ext cx="2265529" cy="69324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lvl="0" algn="ctr" defTabSz="457200">
                  <a:defRPr/>
                </a:pPr>
                <a:r>
                  <a:rPr lang="en-US" sz="1050" b="1" kern="0" dirty="0">
                    <a:latin typeface="Segoe UI"/>
                  </a:rPr>
                  <a:t>Network traffic is following  suboptimal paths</a:t>
                </a:r>
              </a:p>
            </p:txBody>
          </p:sp>
          <p:sp>
            <p:nvSpPr>
              <p:cNvPr id="168" name="Rectangle: Rounded Corners 19">
                <a:extLst>
                  <a:ext uri="{FF2B5EF4-FFF2-40B4-BE49-F238E27FC236}">
                    <a16:creationId xmlns:a16="http://schemas.microsoft.com/office/drawing/2014/main" id="{572E4837-AACA-463C-B9C7-601017A19A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650962" y="7070949"/>
                <a:ext cx="1855454" cy="637739"/>
              </a:xfrm>
              <a:prstGeom prst="roundRect">
                <a:avLst>
                  <a:gd name="adj" fmla="val 0"/>
                </a:avLst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lvl="0" algn="ctr" defTabSz="457200">
                  <a:defRPr/>
                </a:pPr>
                <a:r>
                  <a:rPr lang="en-US" sz="1600" b="1" kern="0" dirty="0">
                    <a:latin typeface="Segoe UI"/>
                  </a:rPr>
                  <a:t>User Experience </a:t>
                </a: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D70A5815-810C-48B9-8AE7-3E93C559F3EC}"/>
                </a:ext>
              </a:extLst>
            </p:cNvPr>
            <p:cNvGrpSpPr/>
            <p:nvPr/>
          </p:nvGrpSpPr>
          <p:grpSpPr>
            <a:xfrm>
              <a:off x="734540" y="4924884"/>
              <a:ext cx="457200" cy="408965"/>
              <a:chOff x="2155435" y="2258937"/>
              <a:chExt cx="457200" cy="457200"/>
            </a:xfrm>
          </p:grpSpPr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80DB26A-E9C9-495C-8719-0F58A7DA80C7}"/>
                  </a:ext>
                </a:extLst>
              </p:cNvPr>
              <p:cNvSpPr/>
              <p:nvPr/>
            </p:nvSpPr>
            <p:spPr>
              <a:xfrm>
                <a:off x="2155435" y="2258937"/>
                <a:ext cx="457200" cy="457200"/>
              </a:xfrm>
              <a:prstGeom prst="ellipse">
                <a:avLst/>
              </a:prstGeom>
              <a:solidFill>
                <a:srgbClr val="B0B9BE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9728" tIns="109728" rIns="109728" bIns="109728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9227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pic>
            <p:nvPicPr>
              <p:cNvPr id="174" name="Picture 173">
                <a:extLst>
                  <a:ext uri="{FF2B5EF4-FFF2-40B4-BE49-F238E27FC236}">
                    <a16:creationId xmlns:a16="http://schemas.microsoft.com/office/drawing/2014/main" id="{FA394B5B-47C9-4022-841A-08F010E087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duotone>
                  <a:srgbClr val="687983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24730" y="2328232"/>
                <a:ext cx="318610" cy="31861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36E14CE-1037-4E3B-9B92-1B8C59E30F38}"/>
              </a:ext>
            </a:extLst>
          </p:cNvPr>
          <p:cNvGrpSpPr/>
          <p:nvPr/>
        </p:nvGrpSpPr>
        <p:grpSpPr>
          <a:xfrm>
            <a:off x="3420237" y="4824910"/>
            <a:ext cx="2483475" cy="1389447"/>
            <a:chOff x="6228238" y="4850478"/>
            <a:chExt cx="2483475" cy="1389447"/>
          </a:xfrm>
        </p:grpSpPr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B76DAC9D-F07D-4734-A6F9-2B55EB4F92CB}"/>
                </a:ext>
              </a:extLst>
            </p:cNvPr>
            <p:cNvGrpSpPr/>
            <p:nvPr/>
          </p:nvGrpSpPr>
          <p:grpSpPr>
            <a:xfrm>
              <a:off x="6228238" y="4850478"/>
              <a:ext cx="2483475" cy="1389447"/>
              <a:chOff x="-2148517" y="7068192"/>
              <a:chExt cx="2483475" cy="1389447"/>
            </a:xfrm>
          </p:grpSpPr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6D681369-0B39-467A-B67E-BE8D77F8A33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148517" y="7068192"/>
                <a:ext cx="2483475" cy="1389447"/>
              </a:xfrm>
              <a:prstGeom prst="rect">
                <a:avLst/>
              </a:prstGeom>
              <a:solidFill>
                <a:srgbClr val="B0B9BE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640080" rtlCol="0" anchor="t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061899BE-19F2-4883-B60C-D9841D3B1C04}"/>
                  </a:ext>
                </a:extLst>
              </p:cNvPr>
              <p:cNvSpPr/>
              <p:nvPr/>
            </p:nvSpPr>
            <p:spPr>
              <a:xfrm>
                <a:off x="-2051526" y="7654467"/>
                <a:ext cx="2265529" cy="69324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lvl="0" algn="ctr" defTabSz="457200">
                  <a:defRPr/>
                </a:pPr>
                <a:r>
                  <a:rPr lang="en-US" sz="1050" b="1" kern="0" dirty="0">
                    <a:latin typeface="Segoe UI"/>
                  </a:rPr>
                  <a:t>Significant % of traffic is international1, resulting in high overall transit costs</a:t>
                </a:r>
              </a:p>
            </p:txBody>
          </p:sp>
          <p:sp>
            <p:nvSpPr>
              <p:cNvPr id="209" name="Rectangle: Rounded Corners 19">
                <a:extLst>
                  <a:ext uri="{FF2B5EF4-FFF2-40B4-BE49-F238E27FC236}">
                    <a16:creationId xmlns:a16="http://schemas.microsoft.com/office/drawing/2014/main" id="{F7C82DE1-B87C-422A-811B-35FBD089E7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650962" y="7070949"/>
                <a:ext cx="1855454" cy="637739"/>
              </a:xfrm>
              <a:prstGeom prst="roundRect">
                <a:avLst>
                  <a:gd name="adj" fmla="val 0"/>
                </a:avLst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lvl="0" algn="ctr" defTabSz="457200">
                  <a:defRPr/>
                </a:pPr>
                <a:r>
                  <a:rPr lang="en-US" sz="1600" b="1" kern="0" dirty="0">
                    <a:latin typeface="Segoe UI"/>
                  </a:rPr>
                  <a:t>Economics</a:t>
                </a:r>
              </a:p>
            </p:txBody>
          </p:sp>
        </p:grp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86C22141-3638-4E47-95E9-38585654CE8A}"/>
                </a:ext>
              </a:extLst>
            </p:cNvPr>
            <p:cNvGrpSpPr/>
            <p:nvPr/>
          </p:nvGrpSpPr>
          <p:grpSpPr>
            <a:xfrm>
              <a:off x="6296911" y="4924884"/>
              <a:ext cx="457200" cy="408965"/>
              <a:chOff x="2155435" y="3279107"/>
              <a:chExt cx="457200" cy="4572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25A2180-5124-4BBE-9BC5-B614DEFB61C2}"/>
                  </a:ext>
                </a:extLst>
              </p:cNvPr>
              <p:cNvSpPr/>
              <p:nvPr/>
            </p:nvSpPr>
            <p:spPr>
              <a:xfrm>
                <a:off x="2155435" y="3279107"/>
                <a:ext cx="457200" cy="457200"/>
              </a:xfrm>
              <a:prstGeom prst="ellipse">
                <a:avLst/>
              </a:prstGeom>
              <a:solidFill>
                <a:srgbClr val="B0B9BE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9728" tIns="109728" rIns="109728" bIns="109728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9227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pic>
            <p:nvPicPr>
              <p:cNvPr id="216" name="Picture 215">
                <a:extLst>
                  <a:ext uri="{FF2B5EF4-FFF2-40B4-BE49-F238E27FC236}">
                    <a16:creationId xmlns:a16="http://schemas.microsoft.com/office/drawing/2014/main" id="{1058C978-A77B-48BA-994A-374389377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duotone>
                  <a:srgbClr val="687983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44816" y="3368488"/>
                <a:ext cx="278438" cy="278438"/>
              </a:xfrm>
              <a:prstGeom prst="rect">
                <a:avLst/>
              </a:prstGeom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D58044A-6818-4868-A6EC-CA56D595030F}"/>
              </a:ext>
            </a:extLst>
          </p:cNvPr>
          <p:cNvGrpSpPr/>
          <p:nvPr/>
        </p:nvGrpSpPr>
        <p:grpSpPr>
          <a:xfrm>
            <a:off x="607652" y="4824910"/>
            <a:ext cx="2483475" cy="1389447"/>
            <a:chOff x="3429928" y="4850478"/>
            <a:chExt cx="2483475" cy="1389447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43021A3-3F09-47C1-8677-1646432EB8F8}"/>
                </a:ext>
              </a:extLst>
            </p:cNvPr>
            <p:cNvGrpSpPr/>
            <p:nvPr/>
          </p:nvGrpSpPr>
          <p:grpSpPr>
            <a:xfrm>
              <a:off x="3429928" y="4850478"/>
              <a:ext cx="2483475" cy="1389447"/>
              <a:chOff x="-2148517" y="7068192"/>
              <a:chExt cx="2483475" cy="1389447"/>
            </a:xfrm>
          </p:grpSpPr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1D29C30B-693D-43F3-8B59-F0A984A1F8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148517" y="7068192"/>
                <a:ext cx="2483475" cy="1389447"/>
              </a:xfrm>
              <a:prstGeom prst="rect">
                <a:avLst/>
              </a:prstGeom>
              <a:solidFill>
                <a:srgbClr val="B0B9BE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640080" rtlCol="0" anchor="t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3889A379-D51A-4F99-A24C-410C8977764A}"/>
                  </a:ext>
                </a:extLst>
              </p:cNvPr>
              <p:cNvSpPr/>
              <p:nvPr/>
            </p:nvSpPr>
            <p:spPr>
              <a:xfrm>
                <a:off x="-2051526" y="7654467"/>
                <a:ext cx="2265529" cy="69324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457200">
                  <a:defRPr/>
                </a:pPr>
                <a:r>
                  <a:rPr lang="en-US" sz="1050" b="1" kern="0" dirty="0">
                    <a:latin typeface="Segoe UI"/>
                  </a:rPr>
                  <a:t>The need to have a direct interconnection between services providers</a:t>
                </a:r>
              </a:p>
            </p:txBody>
          </p:sp>
          <p:sp>
            <p:nvSpPr>
              <p:cNvPr id="205" name="Rectangle: Rounded Corners 19">
                <a:extLst>
                  <a:ext uri="{FF2B5EF4-FFF2-40B4-BE49-F238E27FC236}">
                    <a16:creationId xmlns:a16="http://schemas.microsoft.com/office/drawing/2014/main" id="{29BBA7D1-746A-47F6-A607-A7B126751F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650962" y="7070949"/>
                <a:ext cx="1855454" cy="637739"/>
              </a:xfrm>
              <a:prstGeom prst="roundRect">
                <a:avLst>
                  <a:gd name="adj" fmla="val 0"/>
                </a:avLst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lvl="0" algn="ctr" defTabSz="457200">
                  <a:defRPr/>
                </a:pPr>
                <a:r>
                  <a:rPr lang="en-US" sz="1600" b="1" kern="0" dirty="0">
                    <a:latin typeface="Segoe UI"/>
                  </a:rPr>
                  <a:t>Resiliency</a:t>
                </a:r>
              </a:p>
            </p:txBody>
          </p:sp>
        </p:grp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17B31852-A131-4D45-86CA-B03730173CBD}"/>
                </a:ext>
              </a:extLst>
            </p:cNvPr>
            <p:cNvGrpSpPr/>
            <p:nvPr/>
          </p:nvGrpSpPr>
          <p:grpSpPr>
            <a:xfrm>
              <a:off x="3500737" y="4924884"/>
              <a:ext cx="457200" cy="408965"/>
              <a:chOff x="2155435" y="4299277"/>
              <a:chExt cx="457200" cy="457200"/>
            </a:xfrm>
          </p:grpSpPr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16AA182A-5004-4179-9901-7F3867C40F14}"/>
                  </a:ext>
                </a:extLst>
              </p:cNvPr>
              <p:cNvSpPr/>
              <p:nvPr/>
            </p:nvSpPr>
            <p:spPr>
              <a:xfrm>
                <a:off x="2155435" y="4299277"/>
                <a:ext cx="457200" cy="457200"/>
              </a:xfrm>
              <a:prstGeom prst="ellipse">
                <a:avLst/>
              </a:prstGeom>
              <a:solidFill>
                <a:srgbClr val="B0B9BE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9728" tIns="109728" rIns="109728" bIns="109728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9227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pic>
            <p:nvPicPr>
              <p:cNvPr id="219" name="Picture 218">
                <a:extLst>
                  <a:ext uri="{FF2B5EF4-FFF2-40B4-BE49-F238E27FC236}">
                    <a16:creationId xmlns:a16="http://schemas.microsoft.com/office/drawing/2014/main" id="{82773DB1-2F55-4CBF-B7E5-EF7572E144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duotone>
                  <a:srgbClr val="687983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38431" y="4382273"/>
                <a:ext cx="291209" cy="291209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DC08D10-8EC4-4664-8B48-F483539FF8BB}"/>
              </a:ext>
            </a:extLst>
          </p:cNvPr>
          <p:cNvGrpSpPr/>
          <p:nvPr/>
        </p:nvGrpSpPr>
        <p:grpSpPr>
          <a:xfrm>
            <a:off x="6232822" y="4824910"/>
            <a:ext cx="2483475" cy="1389447"/>
            <a:chOff x="9026549" y="4836106"/>
            <a:chExt cx="2483475" cy="1389447"/>
          </a:xfrm>
        </p:grpSpPr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0E5013E9-297A-454E-AD65-8ABA101CE19D}"/>
                </a:ext>
              </a:extLst>
            </p:cNvPr>
            <p:cNvGrpSpPr/>
            <p:nvPr/>
          </p:nvGrpSpPr>
          <p:grpSpPr>
            <a:xfrm>
              <a:off x="9026549" y="4836106"/>
              <a:ext cx="2483475" cy="1389447"/>
              <a:chOff x="-2148517" y="7068192"/>
              <a:chExt cx="2483475" cy="1389447"/>
            </a:xfrm>
          </p:grpSpPr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0107A8AD-3CAC-4CD1-82A3-371B1078FF5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148517" y="7068192"/>
                <a:ext cx="2483475" cy="1389447"/>
              </a:xfrm>
              <a:prstGeom prst="rect">
                <a:avLst/>
              </a:prstGeom>
              <a:solidFill>
                <a:srgbClr val="B0B9BE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640080" rtlCol="0" anchor="t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DED637D4-EAC1-4A1C-8FA8-65E87421EEE3}"/>
                  </a:ext>
                </a:extLst>
              </p:cNvPr>
              <p:cNvSpPr/>
              <p:nvPr/>
            </p:nvSpPr>
            <p:spPr>
              <a:xfrm>
                <a:off x="-2051526" y="7654467"/>
                <a:ext cx="2265529" cy="69324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lvl="0" algn="ctr" defTabSz="457200">
                  <a:defRPr/>
                </a:pPr>
                <a:r>
                  <a:rPr lang="en-US" sz="1050" b="1" kern="0" dirty="0">
                    <a:latin typeface="Segoe UI"/>
                  </a:rPr>
                  <a:t>Unattractive internet ecosystem due to the lack of neutral digital infrastructure </a:t>
                </a:r>
              </a:p>
            </p:txBody>
          </p:sp>
          <p:sp>
            <p:nvSpPr>
              <p:cNvPr id="213" name="Rectangle: Rounded Corners 19">
                <a:extLst>
                  <a:ext uri="{FF2B5EF4-FFF2-40B4-BE49-F238E27FC236}">
                    <a16:creationId xmlns:a16="http://schemas.microsoft.com/office/drawing/2014/main" id="{3D6E4E5E-B3DF-46C7-9510-1247DA780A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650962" y="7070949"/>
                <a:ext cx="1855454" cy="637739"/>
              </a:xfrm>
              <a:prstGeom prst="roundRect">
                <a:avLst>
                  <a:gd name="adj" fmla="val 0"/>
                </a:avLst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lvl="0" algn="ctr" defTabSz="457200">
                  <a:defRPr/>
                </a:pPr>
                <a:r>
                  <a:rPr lang="en-US" sz="1600" b="1" kern="0" dirty="0">
                    <a:latin typeface="Segoe UI"/>
                  </a:rPr>
                  <a:t>Attractiveness</a:t>
                </a:r>
              </a:p>
            </p:txBody>
          </p:sp>
        </p:grp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33007811-1F44-49D2-85BD-9A184EF66185}"/>
                </a:ext>
              </a:extLst>
            </p:cNvPr>
            <p:cNvGrpSpPr/>
            <p:nvPr/>
          </p:nvGrpSpPr>
          <p:grpSpPr>
            <a:xfrm>
              <a:off x="9138086" y="4924884"/>
              <a:ext cx="457200" cy="408965"/>
              <a:chOff x="2155435" y="5319447"/>
              <a:chExt cx="457200" cy="4572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7DA575FB-9014-4D38-BAE6-ED8139C35251}"/>
                  </a:ext>
                </a:extLst>
              </p:cNvPr>
              <p:cNvSpPr/>
              <p:nvPr/>
            </p:nvSpPr>
            <p:spPr>
              <a:xfrm>
                <a:off x="2155435" y="5319447"/>
                <a:ext cx="457200" cy="457200"/>
              </a:xfrm>
              <a:prstGeom prst="ellipse">
                <a:avLst/>
              </a:prstGeom>
              <a:solidFill>
                <a:srgbClr val="B0B9BE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9728" tIns="109728" rIns="109728" bIns="109728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9227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735C3BE2-097D-405F-AEFC-095BB489BE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687983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49253" y="5413265"/>
                <a:ext cx="269565" cy="269565"/>
              </a:xfrm>
              <a:prstGeom prst="rect">
                <a:avLst/>
              </a:prstGeom>
            </p:spPr>
          </p:pic>
        </p:grp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07B4B0D5-C0C3-41A1-84F4-C02C6A63C66F}"/>
              </a:ext>
            </a:extLst>
          </p:cNvPr>
          <p:cNvGrpSpPr>
            <a:grpSpLocks noChangeAspect="1"/>
          </p:cNvGrpSpPr>
          <p:nvPr/>
        </p:nvGrpSpPr>
        <p:grpSpPr>
          <a:xfrm>
            <a:off x="1947952" y="2587698"/>
            <a:ext cx="731520" cy="732197"/>
            <a:chOff x="5273799" y="2606040"/>
            <a:chExt cx="1644396" cy="1645920"/>
          </a:xfrm>
        </p:grpSpPr>
        <p:sp>
          <p:nvSpPr>
            <p:cNvPr id="224" name="AutoShape 28">
              <a:extLst>
                <a:ext uri="{FF2B5EF4-FFF2-40B4-BE49-F238E27FC236}">
                  <a16:creationId xmlns:a16="http://schemas.microsoft.com/office/drawing/2014/main" id="{08F86CFE-04A2-4138-B7A9-0D34B18CAB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A07CDA62-FC0B-485B-B3AA-F4F123C137A1}"/>
                </a:ext>
              </a:extLst>
            </p:cNvPr>
            <p:cNvGrpSpPr/>
            <p:nvPr/>
          </p:nvGrpSpPr>
          <p:grpSpPr>
            <a:xfrm>
              <a:off x="5537070" y="2899029"/>
              <a:ext cx="1119378" cy="1182243"/>
              <a:chOff x="5537070" y="2899029"/>
              <a:chExt cx="1119378" cy="1182243"/>
            </a:xfrm>
          </p:grpSpPr>
          <p:sp>
            <p:nvSpPr>
              <p:cNvPr id="226" name="Freeform 30">
                <a:extLst>
                  <a:ext uri="{FF2B5EF4-FFF2-40B4-BE49-F238E27FC236}">
                    <a16:creationId xmlns:a16="http://schemas.microsoft.com/office/drawing/2014/main" id="{33098A4F-2F61-4A8B-8CDF-581A8E1D1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8594" y="2961894"/>
                <a:ext cx="1116330" cy="961263"/>
              </a:xfrm>
              <a:custGeom>
                <a:avLst/>
                <a:gdLst>
                  <a:gd name="T0" fmla="*/ 752 w 1564"/>
                  <a:gd name="T1" fmla="*/ 1346 h 1346"/>
                  <a:gd name="T2" fmla="*/ 479 w 1564"/>
                  <a:gd name="T3" fmla="*/ 1346 h 1346"/>
                  <a:gd name="T4" fmla="*/ 469 w 1564"/>
                  <a:gd name="T5" fmla="*/ 1336 h 1346"/>
                  <a:gd name="T6" fmla="*/ 469 w 1564"/>
                  <a:gd name="T7" fmla="*/ 856 h 1346"/>
                  <a:gd name="T8" fmla="*/ 479 w 1564"/>
                  <a:gd name="T9" fmla="*/ 846 h 1346"/>
                  <a:gd name="T10" fmla="*/ 752 w 1564"/>
                  <a:gd name="T11" fmla="*/ 846 h 1346"/>
                  <a:gd name="T12" fmla="*/ 762 w 1564"/>
                  <a:gd name="T13" fmla="*/ 856 h 1346"/>
                  <a:gd name="T14" fmla="*/ 762 w 1564"/>
                  <a:gd name="T15" fmla="*/ 1336 h 1346"/>
                  <a:gd name="T16" fmla="*/ 752 w 1564"/>
                  <a:gd name="T17" fmla="*/ 1346 h 1346"/>
                  <a:gd name="T18" fmla="*/ 1095 w 1564"/>
                  <a:gd name="T19" fmla="*/ 1336 h 1346"/>
                  <a:gd name="T20" fmla="*/ 1095 w 1564"/>
                  <a:gd name="T21" fmla="*/ 856 h 1346"/>
                  <a:gd name="T22" fmla="*/ 1085 w 1564"/>
                  <a:gd name="T23" fmla="*/ 846 h 1346"/>
                  <a:gd name="T24" fmla="*/ 812 w 1564"/>
                  <a:gd name="T25" fmla="*/ 846 h 1346"/>
                  <a:gd name="T26" fmla="*/ 802 w 1564"/>
                  <a:gd name="T27" fmla="*/ 856 h 1346"/>
                  <a:gd name="T28" fmla="*/ 802 w 1564"/>
                  <a:gd name="T29" fmla="*/ 1336 h 1346"/>
                  <a:gd name="T30" fmla="*/ 812 w 1564"/>
                  <a:gd name="T31" fmla="*/ 1346 h 1346"/>
                  <a:gd name="T32" fmla="*/ 1085 w 1564"/>
                  <a:gd name="T33" fmla="*/ 1346 h 1346"/>
                  <a:gd name="T34" fmla="*/ 1095 w 1564"/>
                  <a:gd name="T35" fmla="*/ 1336 h 1346"/>
                  <a:gd name="T36" fmla="*/ 1554 w 1564"/>
                  <a:gd name="T37" fmla="*/ 372 h 1346"/>
                  <a:gd name="T38" fmla="*/ 1384 w 1564"/>
                  <a:gd name="T39" fmla="*/ 18 h 1346"/>
                  <a:gd name="T40" fmla="*/ 1360 w 1564"/>
                  <a:gd name="T41" fmla="*/ 0 h 1346"/>
                  <a:gd name="T42" fmla="*/ 205 w 1564"/>
                  <a:gd name="T43" fmla="*/ 0 h 1346"/>
                  <a:gd name="T44" fmla="*/ 180 w 1564"/>
                  <a:gd name="T45" fmla="*/ 20 h 1346"/>
                  <a:gd name="T46" fmla="*/ 10 w 1564"/>
                  <a:gd name="T47" fmla="*/ 370 h 1346"/>
                  <a:gd name="T48" fmla="*/ 34 w 1564"/>
                  <a:gd name="T49" fmla="*/ 408 h 1346"/>
                  <a:gd name="T50" fmla="*/ 1530 w 1564"/>
                  <a:gd name="T51" fmla="*/ 408 h 1346"/>
                  <a:gd name="T52" fmla="*/ 1554 w 1564"/>
                  <a:gd name="T53" fmla="*/ 372 h 1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4" h="1346">
                    <a:moveTo>
                      <a:pt x="752" y="1346"/>
                    </a:moveTo>
                    <a:cubicBezTo>
                      <a:pt x="479" y="1346"/>
                      <a:pt x="479" y="1346"/>
                      <a:pt x="479" y="1346"/>
                    </a:cubicBezTo>
                    <a:cubicBezTo>
                      <a:pt x="474" y="1346"/>
                      <a:pt x="469" y="1342"/>
                      <a:pt x="469" y="1336"/>
                    </a:cubicBezTo>
                    <a:cubicBezTo>
                      <a:pt x="469" y="856"/>
                      <a:pt x="469" y="856"/>
                      <a:pt x="469" y="856"/>
                    </a:cubicBezTo>
                    <a:cubicBezTo>
                      <a:pt x="469" y="851"/>
                      <a:pt x="474" y="846"/>
                      <a:pt x="479" y="846"/>
                    </a:cubicBezTo>
                    <a:cubicBezTo>
                      <a:pt x="752" y="846"/>
                      <a:pt x="752" y="846"/>
                      <a:pt x="752" y="846"/>
                    </a:cubicBezTo>
                    <a:cubicBezTo>
                      <a:pt x="758" y="846"/>
                      <a:pt x="762" y="851"/>
                      <a:pt x="762" y="856"/>
                    </a:cubicBezTo>
                    <a:cubicBezTo>
                      <a:pt x="762" y="1336"/>
                      <a:pt x="762" y="1336"/>
                      <a:pt x="762" y="1336"/>
                    </a:cubicBezTo>
                    <a:cubicBezTo>
                      <a:pt x="762" y="1342"/>
                      <a:pt x="758" y="1346"/>
                      <a:pt x="752" y="1346"/>
                    </a:cubicBezTo>
                    <a:close/>
                    <a:moveTo>
                      <a:pt x="1095" y="1336"/>
                    </a:moveTo>
                    <a:cubicBezTo>
                      <a:pt x="1095" y="856"/>
                      <a:pt x="1095" y="856"/>
                      <a:pt x="1095" y="856"/>
                    </a:cubicBezTo>
                    <a:cubicBezTo>
                      <a:pt x="1095" y="851"/>
                      <a:pt x="1090" y="846"/>
                      <a:pt x="1085" y="846"/>
                    </a:cubicBezTo>
                    <a:cubicBezTo>
                      <a:pt x="812" y="846"/>
                      <a:pt x="812" y="846"/>
                      <a:pt x="812" y="846"/>
                    </a:cubicBezTo>
                    <a:cubicBezTo>
                      <a:pt x="806" y="846"/>
                      <a:pt x="802" y="851"/>
                      <a:pt x="802" y="856"/>
                    </a:cubicBezTo>
                    <a:cubicBezTo>
                      <a:pt x="802" y="1336"/>
                      <a:pt x="802" y="1336"/>
                      <a:pt x="802" y="1336"/>
                    </a:cubicBezTo>
                    <a:cubicBezTo>
                      <a:pt x="802" y="1342"/>
                      <a:pt x="806" y="1346"/>
                      <a:pt x="812" y="1346"/>
                    </a:cubicBezTo>
                    <a:cubicBezTo>
                      <a:pt x="1085" y="1346"/>
                      <a:pt x="1085" y="1346"/>
                      <a:pt x="1085" y="1346"/>
                    </a:cubicBezTo>
                    <a:cubicBezTo>
                      <a:pt x="1090" y="1346"/>
                      <a:pt x="1095" y="1342"/>
                      <a:pt x="1095" y="1336"/>
                    </a:cubicBezTo>
                    <a:close/>
                    <a:moveTo>
                      <a:pt x="1554" y="372"/>
                    </a:moveTo>
                    <a:cubicBezTo>
                      <a:pt x="1384" y="18"/>
                      <a:pt x="1384" y="18"/>
                      <a:pt x="1384" y="18"/>
                    </a:cubicBezTo>
                    <a:cubicBezTo>
                      <a:pt x="1379" y="9"/>
                      <a:pt x="1370" y="0"/>
                      <a:pt x="1360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4" y="0"/>
                      <a:pt x="185" y="11"/>
                      <a:pt x="180" y="20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0" y="388"/>
                      <a:pt x="14" y="408"/>
                      <a:pt x="34" y="408"/>
                    </a:cubicBezTo>
                    <a:cubicBezTo>
                      <a:pt x="1530" y="408"/>
                      <a:pt x="1530" y="408"/>
                      <a:pt x="1530" y="408"/>
                    </a:cubicBezTo>
                    <a:cubicBezTo>
                      <a:pt x="1551" y="408"/>
                      <a:pt x="1564" y="391"/>
                      <a:pt x="1554" y="372"/>
                    </a:cubicBezTo>
                    <a:close/>
                  </a:path>
                </a:pathLst>
              </a:custGeom>
              <a:solidFill>
                <a:srgbClr val="068E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27" name="Freeform 31">
                <a:extLst>
                  <a:ext uri="{FF2B5EF4-FFF2-40B4-BE49-F238E27FC236}">
                    <a16:creationId xmlns:a16="http://schemas.microsoft.com/office/drawing/2014/main" id="{F44C9629-0B91-4FE9-88BF-B57F439F68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0" y="2899029"/>
                <a:ext cx="1119378" cy="1182243"/>
              </a:xfrm>
              <a:custGeom>
                <a:avLst/>
                <a:gdLst>
                  <a:gd name="T0" fmla="*/ 1524 w 1568"/>
                  <a:gd name="T1" fmla="*/ 1529 h 1655"/>
                  <a:gd name="T2" fmla="*/ 1459 w 1568"/>
                  <a:gd name="T3" fmla="*/ 1529 h 1655"/>
                  <a:gd name="T4" fmla="*/ 1459 w 1568"/>
                  <a:gd name="T5" fmla="*/ 1500 h 1655"/>
                  <a:gd name="T6" fmla="*/ 1438 w 1568"/>
                  <a:gd name="T7" fmla="*/ 1478 h 1655"/>
                  <a:gd name="T8" fmla="*/ 130 w 1568"/>
                  <a:gd name="T9" fmla="*/ 1478 h 1655"/>
                  <a:gd name="T10" fmla="*/ 109 w 1568"/>
                  <a:gd name="T11" fmla="*/ 1500 h 1655"/>
                  <a:gd name="T12" fmla="*/ 109 w 1568"/>
                  <a:gd name="T13" fmla="*/ 1529 h 1655"/>
                  <a:gd name="T14" fmla="*/ 44 w 1568"/>
                  <a:gd name="T15" fmla="*/ 1529 h 1655"/>
                  <a:gd name="T16" fmla="*/ 23 w 1568"/>
                  <a:gd name="T17" fmla="*/ 1551 h 1655"/>
                  <a:gd name="T18" fmla="*/ 23 w 1568"/>
                  <a:gd name="T19" fmla="*/ 1634 h 1655"/>
                  <a:gd name="T20" fmla="*/ 44 w 1568"/>
                  <a:gd name="T21" fmla="*/ 1655 h 1655"/>
                  <a:gd name="T22" fmla="*/ 1524 w 1568"/>
                  <a:gd name="T23" fmla="*/ 1655 h 1655"/>
                  <a:gd name="T24" fmla="*/ 1545 w 1568"/>
                  <a:gd name="T25" fmla="*/ 1634 h 1655"/>
                  <a:gd name="T26" fmla="*/ 1545 w 1568"/>
                  <a:gd name="T27" fmla="*/ 1551 h 1655"/>
                  <a:gd name="T28" fmla="*/ 1524 w 1568"/>
                  <a:gd name="T29" fmla="*/ 1529 h 1655"/>
                  <a:gd name="T30" fmla="*/ 1568 w 1568"/>
                  <a:gd name="T31" fmla="*/ 562 h 1655"/>
                  <a:gd name="T32" fmla="*/ 1568 w 1568"/>
                  <a:gd name="T33" fmla="*/ 583 h 1655"/>
                  <a:gd name="T34" fmla="*/ 1568 w 1568"/>
                  <a:gd name="T35" fmla="*/ 583 h 1655"/>
                  <a:gd name="T36" fmla="*/ 1394 w 1568"/>
                  <a:gd name="T37" fmla="*/ 778 h 1655"/>
                  <a:gd name="T38" fmla="*/ 1394 w 1568"/>
                  <a:gd name="T39" fmla="*/ 1434 h 1655"/>
                  <a:gd name="T40" fmla="*/ 1350 w 1568"/>
                  <a:gd name="T41" fmla="*/ 1434 h 1655"/>
                  <a:gd name="T42" fmla="*/ 1350 w 1568"/>
                  <a:gd name="T43" fmla="*/ 778 h 1655"/>
                  <a:gd name="T44" fmla="*/ 1176 w 1568"/>
                  <a:gd name="T45" fmla="*/ 588 h 1655"/>
                  <a:gd name="T46" fmla="*/ 980 w 1568"/>
                  <a:gd name="T47" fmla="*/ 779 h 1655"/>
                  <a:gd name="T48" fmla="*/ 784 w 1568"/>
                  <a:gd name="T49" fmla="*/ 588 h 1655"/>
                  <a:gd name="T50" fmla="*/ 588 w 1568"/>
                  <a:gd name="T51" fmla="*/ 779 h 1655"/>
                  <a:gd name="T52" fmla="*/ 392 w 1568"/>
                  <a:gd name="T53" fmla="*/ 588 h 1655"/>
                  <a:gd name="T54" fmla="*/ 218 w 1568"/>
                  <a:gd name="T55" fmla="*/ 778 h 1655"/>
                  <a:gd name="T56" fmla="*/ 218 w 1568"/>
                  <a:gd name="T57" fmla="*/ 1434 h 1655"/>
                  <a:gd name="T58" fmla="*/ 174 w 1568"/>
                  <a:gd name="T59" fmla="*/ 1434 h 1655"/>
                  <a:gd name="T60" fmla="*/ 174 w 1568"/>
                  <a:gd name="T61" fmla="*/ 778 h 1655"/>
                  <a:gd name="T62" fmla="*/ 0 w 1568"/>
                  <a:gd name="T63" fmla="*/ 583 h 1655"/>
                  <a:gd name="T64" fmla="*/ 0 w 1568"/>
                  <a:gd name="T65" fmla="*/ 583 h 1655"/>
                  <a:gd name="T66" fmla="*/ 0 w 1568"/>
                  <a:gd name="T67" fmla="*/ 562 h 1655"/>
                  <a:gd name="T68" fmla="*/ 22 w 1568"/>
                  <a:gd name="T69" fmla="*/ 540 h 1655"/>
                  <a:gd name="T70" fmla="*/ 1546 w 1568"/>
                  <a:gd name="T71" fmla="*/ 540 h 1655"/>
                  <a:gd name="T72" fmla="*/ 1568 w 1568"/>
                  <a:gd name="T73" fmla="*/ 562 h 1655"/>
                  <a:gd name="T74" fmla="*/ 1354 w 1568"/>
                  <a:gd name="T75" fmla="*/ 44 h 1655"/>
                  <a:gd name="T76" fmla="*/ 214 w 1568"/>
                  <a:gd name="T77" fmla="*/ 44 h 1655"/>
                  <a:gd name="T78" fmla="*/ 192 w 1568"/>
                  <a:gd name="T79" fmla="*/ 22 h 1655"/>
                  <a:gd name="T80" fmla="*/ 214 w 1568"/>
                  <a:gd name="T81" fmla="*/ 0 h 1655"/>
                  <a:gd name="T82" fmla="*/ 1354 w 1568"/>
                  <a:gd name="T83" fmla="*/ 0 h 1655"/>
                  <a:gd name="T84" fmla="*/ 1376 w 1568"/>
                  <a:gd name="T85" fmla="*/ 22 h 1655"/>
                  <a:gd name="T86" fmla="*/ 1354 w 1568"/>
                  <a:gd name="T87" fmla="*/ 44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68" h="1655">
                    <a:moveTo>
                      <a:pt x="1524" y="1529"/>
                    </a:moveTo>
                    <a:cubicBezTo>
                      <a:pt x="1459" y="1529"/>
                      <a:pt x="1459" y="1529"/>
                      <a:pt x="1459" y="1529"/>
                    </a:cubicBezTo>
                    <a:cubicBezTo>
                      <a:pt x="1459" y="1500"/>
                      <a:pt x="1459" y="1500"/>
                      <a:pt x="1459" y="1500"/>
                    </a:cubicBezTo>
                    <a:cubicBezTo>
                      <a:pt x="1459" y="1488"/>
                      <a:pt x="1450" y="1478"/>
                      <a:pt x="1438" y="1478"/>
                    </a:cubicBezTo>
                    <a:cubicBezTo>
                      <a:pt x="130" y="1478"/>
                      <a:pt x="130" y="1478"/>
                      <a:pt x="130" y="1478"/>
                    </a:cubicBezTo>
                    <a:cubicBezTo>
                      <a:pt x="118" y="1478"/>
                      <a:pt x="109" y="1488"/>
                      <a:pt x="109" y="1500"/>
                    </a:cubicBezTo>
                    <a:cubicBezTo>
                      <a:pt x="109" y="1529"/>
                      <a:pt x="109" y="1529"/>
                      <a:pt x="109" y="1529"/>
                    </a:cubicBezTo>
                    <a:cubicBezTo>
                      <a:pt x="44" y="1529"/>
                      <a:pt x="44" y="1529"/>
                      <a:pt x="44" y="1529"/>
                    </a:cubicBezTo>
                    <a:cubicBezTo>
                      <a:pt x="32" y="1529"/>
                      <a:pt x="23" y="1539"/>
                      <a:pt x="23" y="1551"/>
                    </a:cubicBezTo>
                    <a:cubicBezTo>
                      <a:pt x="23" y="1634"/>
                      <a:pt x="23" y="1634"/>
                      <a:pt x="23" y="1634"/>
                    </a:cubicBezTo>
                    <a:cubicBezTo>
                      <a:pt x="23" y="1646"/>
                      <a:pt x="32" y="1655"/>
                      <a:pt x="44" y="1655"/>
                    </a:cubicBezTo>
                    <a:cubicBezTo>
                      <a:pt x="1524" y="1655"/>
                      <a:pt x="1524" y="1655"/>
                      <a:pt x="1524" y="1655"/>
                    </a:cubicBezTo>
                    <a:cubicBezTo>
                      <a:pt x="1536" y="1655"/>
                      <a:pt x="1545" y="1646"/>
                      <a:pt x="1545" y="1634"/>
                    </a:cubicBezTo>
                    <a:cubicBezTo>
                      <a:pt x="1545" y="1551"/>
                      <a:pt x="1545" y="1551"/>
                      <a:pt x="1545" y="1551"/>
                    </a:cubicBezTo>
                    <a:cubicBezTo>
                      <a:pt x="1545" y="1539"/>
                      <a:pt x="1536" y="1529"/>
                      <a:pt x="1524" y="1529"/>
                    </a:cubicBezTo>
                    <a:close/>
                    <a:moveTo>
                      <a:pt x="1568" y="562"/>
                    </a:move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684"/>
                      <a:pt x="1491" y="767"/>
                      <a:pt x="1394" y="778"/>
                    </a:cubicBezTo>
                    <a:cubicBezTo>
                      <a:pt x="1394" y="1434"/>
                      <a:pt x="1394" y="1434"/>
                      <a:pt x="1394" y="1434"/>
                    </a:cubicBezTo>
                    <a:cubicBezTo>
                      <a:pt x="1350" y="1434"/>
                      <a:pt x="1350" y="1434"/>
                      <a:pt x="1350" y="1434"/>
                    </a:cubicBezTo>
                    <a:cubicBezTo>
                      <a:pt x="1350" y="778"/>
                      <a:pt x="1350" y="778"/>
                      <a:pt x="1350" y="778"/>
                    </a:cubicBezTo>
                    <a:cubicBezTo>
                      <a:pt x="1253" y="767"/>
                      <a:pt x="1178" y="687"/>
                      <a:pt x="1176" y="588"/>
                    </a:cubicBezTo>
                    <a:cubicBezTo>
                      <a:pt x="1173" y="694"/>
                      <a:pt x="1086" y="779"/>
                      <a:pt x="980" y="779"/>
                    </a:cubicBezTo>
                    <a:cubicBezTo>
                      <a:pt x="873" y="779"/>
                      <a:pt x="787" y="694"/>
                      <a:pt x="784" y="588"/>
                    </a:cubicBezTo>
                    <a:cubicBezTo>
                      <a:pt x="781" y="694"/>
                      <a:pt x="695" y="779"/>
                      <a:pt x="588" y="779"/>
                    </a:cubicBezTo>
                    <a:cubicBezTo>
                      <a:pt x="482" y="779"/>
                      <a:pt x="395" y="694"/>
                      <a:pt x="392" y="588"/>
                    </a:cubicBezTo>
                    <a:cubicBezTo>
                      <a:pt x="390" y="687"/>
                      <a:pt x="315" y="767"/>
                      <a:pt x="218" y="778"/>
                    </a:cubicBezTo>
                    <a:cubicBezTo>
                      <a:pt x="218" y="1434"/>
                      <a:pt x="218" y="1434"/>
                      <a:pt x="218" y="1434"/>
                    </a:cubicBezTo>
                    <a:cubicBezTo>
                      <a:pt x="174" y="1434"/>
                      <a:pt x="174" y="1434"/>
                      <a:pt x="174" y="1434"/>
                    </a:cubicBezTo>
                    <a:cubicBezTo>
                      <a:pt x="174" y="778"/>
                      <a:pt x="174" y="778"/>
                      <a:pt x="174" y="778"/>
                    </a:cubicBezTo>
                    <a:cubicBezTo>
                      <a:pt x="77" y="767"/>
                      <a:pt x="0" y="684"/>
                      <a:pt x="0" y="583"/>
                    </a:cubicBezTo>
                    <a:cubicBezTo>
                      <a:pt x="0" y="583"/>
                      <a:pt x="0" y="583"/>
                      <a:pt x="0" y="583"/>
                    </a:cubicBezTo>
                    <a:cubicBezTo>
                      <a:pt x="0" y="562"/>
                      <a:pt x="0" y="562"/>
                      <a:pt x="0" y="562"/>
                    </a:cubicBezTo>
                    <a:cubicBezTo>
                      <a:pt x="0" y="549"/>
                      <a:pt x="10" y="540"/>
                      <a:pt x="22" y="540"/>
                    </a:cubicBezTo>
                    <a:cubicBezTo>
                      <a:pt x="1546" y="540"/>
                      <a:pt x="1546" y="540"/>
                      <a:pt x="1546" y="540"/>
                    </a:cubicBezTo>
                    <a:cubicBezTo>
                      <a:pt x="1558" y="540"/>
                      <a:pt x="1568" y="549"/>
                      <a:pt x="1568" y="562"/>
                    </a:cubicBezTo>
                    <a:close/>
                    <a:moveTo>
                      <a:pt x="1354" y="44"/>
                    </a:moveTo>
                    <a:cubicBezTo>
                      <a:pt x="214" y="44"/>
                      <a:pt x="214" y="44"/>
                      <a:pt x="214" y="44"/>
                    </a:cubicBezTo>
                    <a:cubicBezTo>
                      <a:pt x="202" y="44"/>
                      <a:pt x="192" y="34"/>
                      <a:pt x="192" y="22"/>
                    </a:cubicBezTo>
                    <a:cubicBezTo>
                      <a:pt x="192" y="10"/>
                      <a:pt x="202" y="0"/>
                      <a:pt x="214" y="0"/>
                    </a:cubicBezTo>
                    <a:cubicBezTo>
                      <a:pt x="1354" y="0"/>
                      <a:pt x="1354" y="0"/>
                      <a:pt x="1354" y="0"/>
                    </a:cubicBezTo>
                    <a:cubicBezTo>
                      <a:pt x="1366" y="0"/>
                      <a:pt x="1376" y="10"/>
                      <a:pt x="1376" y="22"/>
                    </a:cubicBezTo>
                    <a:cubicBezTo>
                      <a:pt x="1376" y="34"/>
                      <a:pt x="1366" y="44"/>
                      <a:pt x="1354" y="44"/>
                    </a:cubicBezTo>
                    <a:close/>
                  </a:path>
                </a:pathLst>
              </a:custGeom>
              <a:solidFill>
                <a:srgbClr val="21A0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8" name="bcgIcons_CloudReplacesOnPremises">
            <a:extLst>
              <a:ext uri="{FF2B5EF4-FFF2-40B4-BE49-F238E27FC236}">
                <a16:creationId xmlns:a16="http://schemas.microsoft.com/office/drawing/2014/main" id="{66D32D7B-B23C-495D-912F-6CC0251C2F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39625" y="2400443"/>
            <a:ext cx="767124" cy="767834"/>
            <a:chOff x="1682" y="0"/>
            <a:chExt cx="4316" cy="4320"/>
          </a:xfrm>
        </p:grpSpPr>
        <p:sp>
          <p:nvSpPr>
            <p:cNvPr id="229" name="AutoShape 34">
              <a:extLst>
                <a:ext uri="{FF2B5EF4-FFF2-40B4-BE49-F238E27FC236}">
                  <a16:creationId xmlns:a16="http://schemas.microsoft.com/office/drawing/2014/main" id="{3CE26E5A-D2D2-4AA8-996A-30789CA7DA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36">
              <a:extLst>
                <a:ext uri="{FF2B5EF4-FFF2-40B4-BE49-F238E27FC236}">
                  <a16:creationId xmlns:a16="http://schemas.microsoft.com/office/drawing/2014/main" id="{232DA45A-B291-460E-89EA-0E260A292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233"/>
              <a:ext cx="2720" cy="3873"/>
            </a:xfrm>
            <a:custGeom>
              <a:avLst/>
              <a:gdLst>
                <a:gd name="T0" fmla="*/ 558 w 1452"/>
                <a:gd name="T1" fmla="*/ 579 h 2066"/>
                <a:gd name="T2" fmla="*/ 724 w 1452"/>
                <a:gd name="T3" fmla="*/ 424 h 2066"/>
                <a:gd name="T4" fmla="*/ 725 w 1452"/>
                <a:gd name="T5" fmla="*/ 424 h 2066"/>
                <a:gd name="T6" fmla="*/ 893 w 1452"/>
                <a:gd name="T7" fmla="*/ 576 h 2066"/>
                <a:gd name="T8" fmla="*/ 845 w 1452"/>
                <a:gd name="T9" fmla="*/ 625 h 2066"/>
                <a:gd name="T10" fmla="*/ 759 w 1452"/>
                <a:gd name="T11" fmla="*/ 1041 h 2066"/>
                <a:gd name="T12" fmla="*/ 691 w 1452"/>
                <a:gd name="T13" fmla="*/ 540 h 2066"/>
                <a:gd name="T14" fmla="*/ 582 w 1452"/>
                <a:gd name="T15" fmla="*/ 636 h 2066"/>
                <a:gd name="T16" fmla="*/ 1128 w 1452"/>
                <a:gd name="T17" fmla="*/ 2044 h 2066"/>
                <a:gd name="T18" fmla="*/ 1106 w 1452"/>
                <a:gd name="T19" fmla="*/ 1086 h 2066"/>
                <a:gd name="T20" fmla="*/ 320 w 1452"/>
                <a:gd name="T21" fmla="*/ 1108 h 2066"/>
                <a:gd name="T22" fmla="*/ 342 w 1452"/>
                <a:gd name="T23" fmla="*/ 2066 h 2066"/>
                <a:gd name="T24" fmla="*/ 1128 w 1452"/>
                <a:gd name="T25" fmla="*/ 2044 h 2066"/>
                <a:gd name="T26" fmla="*/ 1084 w 1452"/>
                <a:gd name="T27" fmla="*/ 1130 h 2066"/>
                <a:gd name="T28" fmla="*/ 364 w 1452"/>
                <a:gd name="T29" fmla="*/ 2022 h 2066"/>
                <a:gd name="T30" fmla="*/ 1216 w 1452"/>
                <a:gd name="T31" fmla="*/ 338 h 2066"/>
                <a:gd name="T32" fmla="*/ 1010 w 1452"/>
                <a:gd name="T33" fmla="*/ 242 h 2066"/>
                <a:gd name="T34" fmla="*/ 845 w 1452"/>
                <a:gd name="T35" fmla="*/ 152 h 2066"/>
                <a:gd name="T36" fmla="*/ 761 w 1452"/>
                <a:gd name="T37" fmla="*/ 62 h 2066"/>
                <a:gd name="T38" fmla="*/ 356 w 1452"/>
                <a:gd name="T39" fmla="*/ 88 h 2066"/>
                <a:gd name="T40" fmla="*/ 159 w 1452"/>
                <a:gd name="T41" fmla="*/ 347 h 2066"/>
                <a:gd name="T42" fmla="*/ 140 w 1452"/>
                <a:gd name="T43" fmla="*/ 694 h 2066"/>
                <a:gd name="T44" fmla="*/ 498 w 1452"/>
                <a:gd name="T45" fmla="*/ 904 h 2066"/>
                <a:gd name="T46" fmla="*/ 647 w 1452"/>
                <a:gd name="T47" fmla="*/ 812 h 2066"/>
                <a:gd name="T48" fmla="*/ 290 w 1452"/>
                <a:gd name="T49" fmla="*/ 755 h 2066"/>
                <a:gd name="T50" fmla="*/ 192 w 1452"/>
                <a:gd name="T51" fmla="*/ 376 h 2066"/>
                <a:gd name="T52" fmla="*/ 574 w 1452"/>
                <a:gd name="T53" fmla="*/ 44 h 2066"/>
                <a:gd name="T54" fmla="*/ 817 w 1452"/>
                <a:gd name="T55" fmla="*/ 198 h 2066"/>
                <a:gd name="T56" fmla="*/ 985 w 1452"/>
                <a:gd name="T57" fmla="*/ 290 h 2066"/>
                <a:gd name="T58" fmla="*/ 1188 w 1452"/>
                <a:gd name="T59" fmla="*/ 375 h 2066"/>
                <a:gd name="T60" fmla="*/ 1132 w 1452"/>
                <a:gd name="T61" fmla="*/ 770 h 2066"/>
                <a:gd name="T62" fmla="*/ 996 w 1452"/>
                <a:gd name="T63" fmla="*/ 811 h 2066"/>
                <a:gd name="T64" fmla="*/ 803 w 1452"/>
                <a:gd name="T65" fmla="*/ 831 h 2066"/>
                <a:gd name="T66" fmla="*/ 917 w 1452"/>
                <a:gd name="T67" fmla="*/ 841 h 2066"/>
                <a:gd name="T68" fmla="*/ 1129 w 1452"/>
                <a:gd name="T69" fmla="*/ 814 h 2066"/>
                <a:gd name="T70" fmla="*/ 1379 w 1452"/>
                <a:gd name="T71" fmla="*/ 569 h 2066"/>
                <a:gd name="T72" fmla="*/ 278 w 1452"/>
                <a:gd name="T73" fmla="*/ 1890 h 2066"/>
                <a:gd name="T74" fmla="*/ 44 w 1452"/>
                <a:gd name="T75" fmla="*/ 1195 h 2066"/>
                <a:gd name="T76" fmla="*/ 278 w 1452"/>
                <a:gd name="T77" fmla="*/ 1151 h 2066"/>
                <a:gd name="T78" fmla="*/ 0 w 1452"/>
                <a:gd name="T79" fmla="*/ 1173 h 2066"/>
                <a:gd name="T80" fmla="*/ 22 w 1452"/>
                <a:gd name="T81" fmla="*/ 1934 h 2066"/>
                <a:gd name="T82" fmla="*/ 278 w 1452"/>
                <a:gd name="T83" fmla="*/ 1890 h 2066"/>
                <a:gd name="T84" fmla="*/ 1172 w 1452"/>
                <a:gd name="T85" fmla="*/ 1151 h 2066"/>
                <a:gd name="T86" fmla="*/ 1408 w 1452"/>
                <a:gd name="T87" fmla="*/ 1195 h 2066"/>
                <a:gd name="T88" fmla="*/ 1172 w 1452"/>
                <a:gd name="T89" fmla="*/ 1890 h 2066"/>
                <a:gd name="T90" fmla="*/ 1430 w 1452"/>
                <a:gd name="T91" fmla="*/ 1934 h 2066"/>
                <a:gd name="T92" fmla="*/ 1452 w 1452"/>
                <a:gd name="T93" fmla="*/ 1173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52" h="2066">
                  <a:moveTo>
                    <a:pt x="558" y="627"/>
                  </a:moveTo>
                  <a:cubicBezTo>
                    <a:pt x="544" y="614"/>
                    <a:pt x="544" y="592"/>
                    <a:pt x="558" y="579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706" y="428"/>
                    <a:pt x="715" y="424"/>
                    <a:pt x="724" y="424"/>
                  </a:cubicBezTo>
                  <a:cubicBezTo>
                    <a:pt x="724" y="424"/>
                    <a:pt x="724" y="424"/>
                    <a:pt x="725" y="424"/>
                  </a:cubicBezTo>
                  <a:cubicBezTo>
                    <a:pt x="725" y="424"/>
                    <a:pt x="725" y="424"/>
                    <a:pt x="725" y="424"/>
                  </a:cubicBezTo>
                  <a:cubicBezTo>
                    <a:pt x="737" y="424"/>
                    <a:pt x="747" y="430"/>
                    <a:pt x="753" y="439"/>
                  </a:cubicBezTo>
                  <a:cubicBezTo>
                    <a:pt x="893" y="576"/>
                    <a:pt x="893" y="576"/>
                    <a:pt x="893" y="576"/>
                  </a:cubicBezTo>
                  <a:cubicBezTo>
                    <a:pt x="906" y="590"/>
                    <a:pt x="906" y="611"/>
                    <a:pt x="893" y="624"/>
                  </a:cubicBezTo>
                  <a:cubicBezTo>
                    <a:pt x="880" y="638"/>
                    <a:pt x="858" y="638"/>
                    <a:pt x="845" y="625"/>
                  </a:cubicBezTo>
                  <a:cubicBezTo>
                    <a:pt x="759" y="540"/>
                    <a:pt x="759" y="540"/>
                    <a:pt x="759" y="540"/>
                  </a:cubicBezTo>
                  <a:cubicBezTo>
                    <a:pt x="759" y="1041"/>
                    <a:pt x="759" y="1041"/>
                    <a:pt x="759" y="1041"/>
                  </a:cubicBezTo>
                  <a:cubicBezTo>
                    <a:pt x="691" y="1041"/>
                    <a:pt x="691" y="1041"/>
                    <a:pt x="691" y="1041"/>
                  </a:cubicBezTo>
                  <a:cubicBezTo>
                    <a:pt x="691" y="540"/>
                    <a:pt x="691" y="540"/>
                    <a:pt x="691" y="540"/>
                  </a:cubicBezTo>
                  <a:cubicBezTo>
                    <a:pt x="606" y="626"/>
                    <a:pt x="606" y="626"/>
                    <a:pt x="606" y="626"/>
                  </a:cubicBezTo>
                  <a:cubicBezTo>
                    <a:pt x="599" y="633"/>
                    <a:pt x="591" y="636"/>
                    <a:pt x="582" y="636"/>
                  </a:cubicBezTo>
                  <a:cubicBezTo>
                    <a:pt x="573" y="636"/>
                    <a:pt x="564" y="633"/>
                    <a:pt x="558" y="627"/>
                  </a:cubicBezTo>
                  <a:close/>
                  <a:moveTo>
                    <a:pt x="1128" y="2044"/>
                  </a:moveTo>
                  <a:cubicBezTo>
                    <a:pt x="1128" y="1108"/>
                    <a:pt x="1128" y="1108"/>
                    <a:pt x="1128" y="1108"/>
                  </a:cubicBezTo>
                  <a:cubicBezTo>
                    <a:pt x="1128" y="1096"/>
                    <a:pt x="1118" y="1086"/>
                    <a:pt x="1106" y="1086"/>
                  </a:cubicBezTo>
                  <a:cubicBezTo>
                    <a:pt x="342" y="1086"/>
                    <a:pt x="342" y="1086"/>
                    <a:pt x="342" y="1086"/>
                  </a:cubicBezTo>
                  <a:cubicBezTo>
                    <a:pt x="330" y="1086"/>
                    <a:pt x="320" y="1096"/>
                    <a:pt x="320" y="1108"/>
                  </a:cubicBezTo>
                  <a:cubicBezTo>
                    <a:pt x="320" y="2044"/>
                    <a:pt x="320" y="2044"/>
                    <a:pt x="320" y="2044"/>
                  </a:cubicBezTo>
                  <a:cubicBezTo>
                    <a:pt x="320" y="2056"/>
                    <a:pt x="330" y="2066"/>
                    <a:pt x="342" y="2066"/>
                  </a:cubicBezTo>
                  <a:cubicBezTo>
                    <a:pt x="1106" y="2066"/>
                    <a:pt x="1106" y="2066"/>
                    <a:pt x="1106" y="2066"/>
                  </a:cubicBezTo>
                  <a:cubicBezTo>
                    <a:pt x="1118" y="2066"/>
                    <a:pt x="1128" y="2056"/>
                    <a:pt x="1128" y="2044"/>
                  </a:cubicBezTo>
                  <a:close/>
                  <a:moveTo>
                    <a:pt x="364" y="1130"/>
                  </a:moveTo>
                  <a:cubicBezTo>
                    <a:pt x="1084" y="1130"/>
                    <a:pt x="1084" y="1130"/>
                    <a:pt x="1084" y="1130"/>
                  </a:cubicBezTo>
                  <a:cubicBezTo>
                    <a:pt x="1084" y="2022"/>
                    <a:pt x="1084" y="2022"/>
                    <a:pt x="1084" y="2022"/>
                  </a:cubicBezTo>
                  <a:cubicBezTo>
                    <a:pt x="364" y="2022"/>
                    <a:pt x="364" y="2022"/>
                    <a:pt x="364" y="2022"/>
                  </a:cubicBezTo>
                  <a:lnTo>
                    <a:pt x="364" y="1130"/>
                  </a:lnTo>
                  <a:close/>
                  <a:moveTo>
                    <a:pt x="1216" y="338"/>
                  </a:moveTo>
                  <a:cubicBezTo>
                    <a:pt x="1172" y="277"/>
                    <a:pt x="1103" y="241"/>
                    <a:pt x="1026" y="241"/>
                  </a:cubicBezTo>
                  <a:cubicBezTo>
                    <a:pt x="1021" y="241"/>
                    <a:pt x="1015" y="242"/>
                    <a:pt x="1010" y="242"/>
                  </a:cubicBezTo>
                  <a:cubicBezTo>
                    <a:pt x="996" y="220"/>
                    <a:pt x="977" y="201"/>
                    <a:pt x="955" y="186"/>
                  </a:cubicBezTo>
                  <a:cubicBezTo>
                    <a:pt x="923" y="163"/>
                    <a:pt x="885" y="152"/>
                    <a:pt x="845" y="152"/>
                  </a:cubicBezTo>
                  <a:cubicBezTo>
                    <a:pt x="844" y="152"/>
                    <a:pt x="843" y="152"/>
                    <a:pt x="842" y="152"/>
                  </a:cubicBezTo>
                  <a:cubicBezTo>
                    <a:pt x="821" y="117"/>
                    <a:pt x="794" y="86"/>
                    <a:pt x="761" y="62"/>
                  </a:cubicBezTo>
                  <a:cubicBezTo>
                    <a:pt x="707" y="21"/>
                    <a:pt x="642" y="0"/>
                    <a:pt x="574" y="0"/>
                  </a:cubicBezTo>
                  <a:cubicBezTo>
                    <a:pt x="492" y="0"/>
                    <a:pt x="414" y="31"/>
                    <a:pt x="356" y="88"/>
                  </a:cubicBezTo>
                  <a:cubicBezTo>
                    <a:pt x="305" y="138"/>
                    <a:pt x="273" y="202"/>
                    <a:pt x="265" y="272"/>
                  </a:cubicBezTo>
                  <a:cubicBezTo>
                    <a:pt x="224" y="288"/>
                    <a:pt x="188" y="314"/>
                    <a:pt x="159" y="347"/>
                  </a:cubicBezTo>
                  <a:cubicBezTo>
                    <a:pt x="114" y="398"/>
                    <a:pt x="89" y="464"/>
                    <a:pt x="89" y="532"/>
                  </a:cubicBezTo>
                  <a:cubicBezTo>
                    <a:pt x="89" y="590"/>
                    <a:pt x="107" y="646"/>
                    <a:pt x="140" y="694"/>
                  </a:cubicBezTo>
                  <a:cubicBezTo>
                    <a:pt x="171" y="737"/>
                    <a:pt x="213" y="771"/>
                    <a:pt x="262" y="792"/>
                  </a:cubicBezTo>
                  <a:cubicBezTo>
                    <a:pt x="320" y="862"/>
                    <a:pt x="407" y="904"/>
                    <a:pt x="498" y="904"/>
                  </a:cubicBezTo>
                  <a:cubicBezTo>
                    <a:pt x="551" y="904"/>
                    <a:pt x="602" y="890"/>
                    <a:pt x="647" y="864"/>
                  </a:cubicBezTo>
                  <a:cubicBezTo>
                    <a:pt x="647" y="812"/>
                    <a:pt x="647" y="812"/>
                    <a:pt x="647" y="812"/>
                  </a:cubicBezTo>
                  <a:cubicBezTo>
                    <a:pt x="604" y="843"/>
                    <a:pt x="552" y="860"/>
                    <a:pt x="498" y="860"/>
                  </a:cubicBezTo>
                  <a:cubicBezTo>
                    <a:pt x="415" y="860"/>
                    <a:pt x="338" y="821"/>
                    <a:pt x="290" y="755"/>
                  </a:cubicBezTo>
                  <a:cubicBezTo>
                    <a:pt x="196" y="721"/>
                    <a:pt x="133" y="633"/>
                    <a:pt x="133" y="532"/>
                  </a:cubicBezTo>
                  <a:cubicBezTo>
                    <a:pt x="133" y="474"/>
                    <a:pt x="154" y="419"/>
                    <a:pt x="192" y="376"/>
                  </a:cubicBezTo>
                  <a:cubicBezTo>
                    <a:pt x="223" y="341"/>
                    <a:pt x="262" y="316"/>
                    <a:pt x="307" y="304"/>
                  </a:cubicBezTo>
                  <a:cubicBezTo>
                    <a:pt x="309" y="160"/>
                    <a:pt x="428" y="44"/>
                    <a:pt x="574" y="44"/>
                  </a:cubicBezTo>
                  <a:cubicBezTo>
                    <a:pt x="632" y="44"/>
                    <a:pt x="688" y="62"/>
                    <a:pt x="735" y="97"/>
                  </a:cubicBezTo>
                  <a:cubicBezTo>
                    <a:pt x="770" y="124"/>
                    <a:pt x="799" y="159"/>
                    <a:pt x="817" y="198"/>
                  </a:cubicBezTo>
                  <a:cubicBezTo>
                    <a:pt x="827" y="196"/>
                    <a:pt x="836" y="196"/>
                    <a:pt x="845" y="196"/>
                  </a:cubicBezTo>
                  <a:cubicBezTo>
                    <a:pt x="908" y="196"/>
                    <a:pt x="963" y="235"/>
                    <a:pt x="985" y="290"/>
                  </a:cubicBezTo>
                  <a:cubicBezTo>
                    <a:pt x="999" y="287"/>
                    <a:pt x="1013" y="285"/>
                    <a:pt x="1026" y="285"/>
                  </a:cubicBezTo>
                  <a:cubicBezTo>
                    <a:pt x="1093" y="285"/>
                    <a:pt x="1154" y="319"/>
                    <a:pt x="1188" y="375"/>
                  </a:cubicBezTo>
                  <a:cubicBezTo>
                    <a:pt x="1274" y="399"/>
                    <a:pt x="1335" y="478"/>
                    <a:pt x="1335" y="569"/>
                  </a:cubicBezTo>
                  <a:cubicBezTo>
                    <a:pt x="1335" y="680"/>
                    <a:pt x="1244" y="770"/>
                    <a:pt x="1132" y="770"/>
                  </a:cubicBezTo>
                  <a:cubicBezTo>
                    <a:pt x="1114" y="770"/>
                    <a:pt x="1114" y="770"/>
                    <a:pt x="1114" y="770"/>
                  </a:cubicBezTo>
                  <a:cubicBezTo>
                    <a:pt x="1080" y="796"/>
                    <a:pt x="1039" y="811"/>
                    <a:pt x="996" y="811"/>
                  </a:cubicBezTo>
                  <a:cubicBezTo>
                    <a:pt x="967" y="811"/>
                    <a:pt x="938" y="804"/>
                    <a:pt x="912" y="792"/>
                  </a:cubicBezTo>
                  <a:cubicBezTo>
                    <a:pt x="880" y="815"/>
                    <a:pt x="843" y="829"/>
                    <a:pt x="803" y="831"/>
                  </a:cubicBezTo>
                  <a:cubicBezTo>
                    <a:pt x="803" y="875"/>
                    <a:pt x="803" y="875"/>
                    <a:pt x="803" y="875"/>
                  </a:cubicBezTo>
                  <a:cubicBezTo>
                    <a:pt x="843" y="873"/>
                    <a:pt x="882" y="862"/>
                    <a:pt x="917" y="841"/>
                  </a:cubicBezTo>
                  <a:cubicBezTo>
                    <a:pt x="942" y="850"/>
                    <a:pt x="968" y="855"/>
                    <a:pt x="996" y="855"/>
                  </a:cubicBezTo>
                  <a:cubicBezTo>
                    <a:pt x="1043" y="855"/>
                    <a:pt x="1089" y="840"/>
                    <a:pt x="1129" y="814"/>
                  </a:cubicBezTo>
                  <a:cubicBezTo>
                    <a:pt x="1132" y="814"/>
                    <a:pt x="1132" y="814"/>
                    <a:pt x="1132" y="814"/>
                  </a:cubicBezTo>
                  <a:cubicBezTo>
                    <a:pt x="1269" y="814"/>
                    <a:pt x="1379" y="704"/>
                    <a:pt x="1379" y="569"/>
                  </a:cubicBezTo>
                  <a:cubicBezTo>
                    <a:pt x="1379" y="465"/>
                    <a:pt x="1313" y="372"/>
                    <a:pt x="1216" y="338"/>
                  </a:cubicBezTo>
                  <a:close/>
                  <a:moveTo>
                    <a:pt x="278" y="1890"/>
                  </a:moveTo>
                  <a:cubicBezTo>
                    <a:pt x="44" y="1890"/>
                    <a:pt x="44" y="1890"/>
                    <a:pt x="44" y="1890"/>
                  </a:cubicBezTo>
                  <a:cubicBezTo>
                    <a:pt x="44" y="1195"/>
                    <a:pt x="44" y="1195"/>
                    <a:pt x="44" y="1195"/>
                  </a:cubicBezTo>
                  <a:cubicBezTo>
                    <a:pt x="278" y="1195"/>
                    <a:pt x="278" y="1195"/>
                    <a:pt x="278" y="1195"/>
                  </a:cubicBezTo>
                  <a:cubicBezTo>
                    <a:pt x="278" y="1151"/>
                    <a:pt x="278" y="1151"/>
                    <a:pt x="278" y="1151"/>
                  </a:cubicBezTo>
                  <a:cubicBezTo>
                    <a:pt x="22" y="1151"/>
                    <a:pt x="22" y="1151"/>
                    <a:pt x="22" y="1151"/>
                  </a:cubicBezTo>
                  <a:cubicBezTo>
                    <a:pt x="10" y="1151"/>
                    <a:pt x="0" y="1161"/>
                    <a:pt x="0" y="1173"/>
                  </a:cubicBezTo>
                  <a:cubicBezTo>
                    <a:pt x="0" y="1912"/>
                    <a:pt x="0" y="1912"/>
                    <a:pt x="0" y="1912"/>
                  </a:cubicBezTo>
                  <a:cubicBezTo>
                    <a:pt x="0" y="1924"/>
                    <a:pt x="10" y="1934"/>
                    <a:pt x="22" y="1934"/>
                  </a:cubicBezTo>
                  <a:cubicBezTo>
                    <a:pt x="278" y="1934"/>
                    <a:pt x="278" y="1934"/>
                    <a:pt x="278" y="1934"/>
                  </a:cubicBezTo>
                  <a:lnTo>
                    <a:pt x="278" y="1890"/>
                  </a:lnTo>
                  <a:close/>
                  <a:moveTo>
                    <a:pt x="1430" y="1151"/>
                  </a:moveTo>
                  <a:cubicBezTo>
                    <a:pt x="1172" y="1151"/>
                    <a:pt x="1172" y="1151"/>
                    <a:pt x="1172" y="1151"/>
                  </a:cubicBezTo>
                  <a:cubicBezTo>
                    <a:pt x="1172" y="1195"/>
                    <a:pt x="1172" y="1195"/>
                    <a:pt x="1172" y="1195"/>
                  </a:cubicBezTo>
                  <a:cubicBezTo>
                    <a:pt x="1408" y="1195"/>
                    <a:pt x="1408" y="1195"/>
                    <a:pt x="1408" y="1195"/>
                  </a:cubicBezTo>
                  <a:cubicBezTo>
                    <a:pt x="1408" y="1890"/>
                    <a:pt x="1408" y="1890"/>
                    <a:pt x="1408" y="1890"/>
                  </a:cubicBezTo>
                  <a:cubicBezTo>
                    <a:pt x="1172" y="1890"/>
                    <a:pt x="1172" y="1890"/>
                    <a:pt x="1172" y="1890"/>
                  </a:cubicBezTo>
                  <a:cubicBezTo>
                    <a:pt x="1172" y="1934"/>
                    <a:pt x="1172" y="1934"/>
                    <a:pt x="1172" y="1934"/>
                  </a:cubicBezTo>
                  <a:cubicBezTo>
                    <a:pt x="1430" y="1934"/>
                    <a:pt x="1430" y="1934"/>
                    <a:pt x="1430" y="1934"/>
                  </a:cubicBezTo>
                  <a:cubicBezTo>
                    <a:pt x="1442" y="1934"/>
                    <a:pt x="1452" y="1924"/>
                    <a:pt x="1452" y="1912"/>
                  </a:cubicBezTo>
                  <a:cubicBezTo>
                    <a:pt x="1452" y="1173"/>
                    <a:pt x="1452" y="1173"/>
                    <a:pt x="1452" y="1173"/>
                  </a:cubicBezTo>
                  <a:cubicBezTo>
                    <a:pt x="1452" y="1161"/>
                    <a:pt x="1442" y="1151"/>
                    <a:pt x="1430" y="1151"/>
                  </a:cubicBezTo>
                  <a:close/>
                </a:path>
              </a:pathLst>
            </a:custGeom>
            <a:solidFill>
              <a:srgbClr val="068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37">
              <a:extLst>
                <a:ext uri="{FF2B5EF4-FFF2-40B4-BE49-F238E27FC236}">
                  <a16:creationId xmlns:a16="http://schemas.microsoft.com/office/drawing/2014/main" id="{5714CFC4-610A-4DDC-B29F-33F976D5E3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" y="383"/>
              <a:ext cx="2372" cy="3558"/>
            </a:xfrm>
            <a:custGeom>
              <a:avLst/>
              <a:gdLst>
                <a:gd name="T0" fmla="*/ 1008 w 1266"/>
                <a:gd name="T1" fmla="*/ 654 h 1898"/>
                <a:gd name="T2" fmla="*/ 710 w 1266"/>
                <a:gd name="T3" fmla="*/ 715 h 1898"/>
                <a:gd name="T4" fmla="*/ 776 w 1266"/>
                <a:gd name="T5" fmla="*/ 599 h 1898"/>
                <a:gd name="T6" fmla="*/ 830 w 1266"/>
                <a:gd name="T7" fmla="*/ 465 h 1898"/>
                <a:gd name="T8" fmla="*/ 631 w 1266"/>
                <a:gd name="T9" fmla="*/ 300 h 1898"/>
                <a:gd name="T10" fmla="*/ 411 w 1266"/>
                <a:gd name="T11" fmla="*/ 523 h 1898"/>
                <a:gd name="T12" fmla="*/ 544 w 1266"/>
                <a:gd name="T13" fmla="*/ 577 h 1898"/>
                <a:gd name="T14" fmla="*/ 405 w 1266"/>
                <a:gd name="T15" fmla="*/ 744 h 1898"/>
                <a:gd name="T16" fmla="*/ 250 w 1266"/>
                <a:gd name="T17" fmla="*/ 253 h 1898"/>
                <a:gd name="T18" fmla="*/ 703 w 1266"/>
                <a:gd name="T19" fmla="*/ 163 h 1898"/>
                <a:gd name="T20" fmla="*/ 933 w 1266"/>
                <a:gd name="T21" fmla="*/ 241 h 1898"/>
                <a:gd name="T22" fmla="*/ 947 w 1266"/>
                <a:gd name="T23" fmla="*/ 1103 h 1898"/>
                <a:gd name="T24" fmla="*/ 327 w 1266"/>
                <a:gd name="T25" fmla="*/ 1308 h 1898"/>
                <a:gd name="T26" fmla="*/ 327 w 1266"/>
                <a:gd name="T27" fmla="*/ 1093 h 1898"/>
                <a:gd name="T28" fmla="*/ 478 w 1266"/>
                <a:gd name="T29" fmla="*/ 1196 h 1898"/>
                <a:gd name="T30" fmla="*/ 433 w 1266"/>
                <a:gd name="T31" fmla="*/ 1242 h 1898"/>
                <a:gd name="T32" fmla="*/ 798 w 1266"/>
                <a:gd name="T33" fmla="*/ 1174 h 1898"/>
                <a:gd name="T34" fmla="*/ 535 w 1266"/>
                <a:gd name="T35" fmla="*/ 1218 h 1898"/>
                <a:gd name="T36" fmla="*/ 947 w 1266"/>
                <a:gd name="T37" fmla="*/ 1399 h 1898"/>
                <a:gd name="T38" fmla="*/ 327 w 1266"/>
                <a:gd name="T39" fmla="*/ 1603 h 1898"/>
                <a:gd name="T40" fmla="*/ 327 w 1266"/>
                <a:gd name="T41" fmla="*/ 1389 h 1898"/>
                <a:gd name="T42" fmla="*/ 478 w 1266"/>
                <a:gd name="T43" fmla="*/ 1492 h 1898"/>
                <a:gd name="T44" fmla="*/ 433 w 1266"/>
                <a:gd name="T45" fmla="*/ 1537 h 1898"/>
                <a:gd name="T46" fmla="*/ 798 w 1266"/>
                <a:gd name="T47" fmla="*/ 1470 h 1898"/>
                <a:gd name="T48" fmla="*/ 535 w 1266"/>
                <a:gd name="T49" fmla="*/ 1514 h 1898"/>
                <a:gd name="T50" fmla="*/ 947 w 1266"/>
                <a:gd name="T51" fmla="*/ 1693 h 1898"/>
                <a:gd name="T52" fmla="*/ 327 w 1266"/>
                <a:gd name="T53" fmla="*/ 1898 h 1898"/>
                <a:gd name="T54" fmla="*/ 327 w 1266"/>
                <a:gd name="T55" fmla="*/ 1683 h 1898"/>
                <a:gd name="T56" fmla="*/ 478 w 1266"/>
                <a:gd name="T57" fmla="*/ 1787 h 1898"/>
                <a:gd name="T58" fmla="*/ 433 w 1266"/>
                <a:gd name="T59" fmla="*/ 1832 h 1898"/>
                <a:gd name="T60" fmla="*/ 798 w 1266"/>
                <a:gd name="T61" fmla="*/ 1765 h 1898"/>
                <a:gd name="T62" fmla="*/ 535 w 1266"/>
                <a:gd name="T63" fmla="*/ 1809 h 1898"/>
                <a:gd name="T64" fmla="*/ 1256 w 1266"/>
                <a:gd name="T65" fmla="*/ 1168 h 1898"/>
                <a:gd name="T66" fmla="*/ 1256 w 1266"/>
                <a:gd name="T67" fmla="*/ 1307 h 1898"/>
                <a:gd name="T68" fmla="*/ 1256 w 1266"/>
                <a:gd name="T69" fmla="*/ 1168 h 1898"/>
                <a:gd name="T70" fmla="*/ 0 w 1266"/>
                <a:gd name="T71" fmla="*/ 1178 h 1898"/>
                <a:gd name="T72" fmla="*/ 185 w 1266"/>
                <a:gd name="T73" fmla="*/ 1307 h 1898"/>
                <a:gd name="T74" fmla="*/ 10 w 1266"/>
                <a:gd name="T75" fmla="*/ 1395 h 1898"/>
                <a:gd name="T76" fmla="*/ 10 w 1266"/>
                <a:gd name="T77" fmla="*/ 1533 h 1898"/>
                <a:gd name="T78" fmla="*/ 1256 w 1266"/>
                <a:gd name="T79" fmla="*/ 1395 h 1898"/>
                <a:gd name="T80" fmla="*/ 1256 w 1266"/>
                <a:gd name="T81" fmla="*/ 1533 h 1898"/>
                <a:gd name="T82" fmla="*/ 1256 w 1266"/>
                <a:gd name="T83" fmla="*/ 1395 h 1898"/>
                <a:gd name="T84" fmla="*/ 0 w 1266"/>
                <a:gd name="T85" fmla="*/ 1630 h 1898"/>
                <a:gd name="T86" fmla="*/ 185 w 1266"/>
                <a:gd name="T87" fmla="*/ 1759 h 1898"/>
                <a:gd name="T88" fmla="*/ 1079 w 1266"/>
                <a:gd name="T89" fmla="*/ 1620 h 1898"/>
                <a:gd name="T90" fmla="*/ 1266 w 1266"/>
                <a:gd name="T91" fmla="*/ 1749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66" h="1898">
                  <a:moveTo>
                    <a:pt x="1207" y="489"/>
                  </a:moveTo>
                  <a:cubicBezTo>
                    <a:pt x="1207" y="580"/>
                    <a:pt x="1132" y="654"/>
                    <a:pt x="1039" y="654"/>
                  </a:cubicBezTo>
                  <a:cubicBezTo>
                    <a:pt x="1033" y="654"/>
                    <a:pt x="1022" y="654"/>
                    <a:pt x="1008" y="654"/>
                  </a:cubicBezTo>
                  <a:cubicBezTo>
                    <a:pt x="980" y="679"/>
                    <a:pt x="943" y="695"/>
                    <a:pt x="903" y="695"/>
                  </a:cubicBezTo>
                  <a:cubicBezTo>
                    <a:pt x="870" y="695"/>
                    <a:pt x="841" y="685"/>
                    <a:pt x="816" y="669"/>
                  </a:cubicBezTo>
                  <a:cubicBezTo>
                    <a:pt x="788" y="695"/>
                    <a:pt x="751" y="712"/>
                    <a:pt x="710" y="715"/>
                  </a:cubicBezTo>
                  <a:cubicBezTo>
                    <a:pt x="710" y="566"/>
                    <a:pt x="710" y="566"/>
                    <a:pt x="710" y="566"/>
                  </a:cubicBezTo>
                  <a:cubicBezTo>
                    <a:pt x="721" y="576"/>
                    <a:pt x="721" y="576"/>
                    <a:pt x="721" y="576"/>
                  </a:cubicBezTo>
                  <a:cubicBezTo>
                    <a:pt x="736" y="591"/>
                    <a:pt x="755" y="599"/>
                    <a:pt x="776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797" y="599"/>
                    <a:pt x="816" y="590"/>
                    <a:pt x="831" y="575"/>
                  </a:cubicBezTo>
                  <a:cubicBezTo>
                    <a:pt x="861" y="545"/>
                    <a:pt x="861" y="495"/>
                    <a:pt x="830" y="465"/>
                  </a:cubicBezTo>
                  <a:cubicBezTo>
                    <a:pt x="694" y="330"/>
                    <a:pt x="694" y="330"/>
                    <a:pt x="694" y="330"/>
                  </a:cubicBezTo>
                  <a:cubicBezTo>
                    <a:pt x="679" y="311"/>
                    <a:pt x="656" y="300"/>
                    <a:pt x="632" y="300"/>
                  </a:cubicBezTo>
                  <a:cubicBezTo>
                    <a:pt x="632" y="300"/>
                    <a:pt x="631" y="300"/>
                    <a:pt x="631" y="300"/>
                  </a:cubicBezTo>
                  <a:cubicBezTo>
                    <a:pt x="610" y="300"/>
                    <a:pt x="590" y="308"/>
                    <a:pt x="576" y="323"/>
                  </a:cubicBezTo>
                  <a:cubicBezTo>
                    <a:pt x="433" y="468"/>
                    <a:pt x="433" y="468"/>
                    <a:pt x="433" y="468"/>
                  </a:cubicBezTo>
                  <a:cubicBezTo>
                    <a:pt x="419" y="483"/>
                    <a:pt x="411" y="502"/>
                    <a:pt x="411" y="523"/>
                  </a:cubicBezTo>
                  <a:cubicBezTo>
                    <a:pt x="411" y="544"/>
                    <a:pt x="419" y="563"/>
                    <a:pt x="434" y="578"/>
                  </a:cubicBezTo>
                  <a:cubicBezTo>
                    <a:pt x="449" y="593"/>
                    <a:pt x="468" y="600"/>
                    <a:pt x="489" y="600"/>
                  </a:cubicBezTo>
                  <a:cubicBezTo>
                    <a:pt x="510" y="600"/>
                    <a:pt x="529" y="592"/>
                    <a:pt x="544" y="577"/>
                  </a:cubicBezTo>
                  <a:cubicBezTo>
                    <a:pt x="554" y="567"/>
                    <a:pt x="554" y="567"/>
                    <a:pt x="554" y="567"/>
                  </a:cubicBezTo>
                  <a:cubicBezTo>
                    <a:pt x="554" y="687"/>
                    <a:pt x="554" y="687"/>
                    <a:pt x="554" y="687"/>
                  </a:cubicBezTo>
                  <a:cubicBezTo>
                    <a:pt x="515" y="722"/>
                    <a:pt x="462" y="744"/>
                    <a:pt x="405" y="744"/>
                  </a:cubicBezTo>
                  <a:cubicBezTo>
                    <a:pt x="327" y="744"/>
                    <a:pt x="259" y="705"/>
                    <a:pt x="219" y="645"/>
                  </a:cubicBezTo>
                  <a:cubicBezTo>
                    <a:pt x="136" y="619"/>
                    <a:pt x="76" y="543"/>
                    <a:pt x="76" y="452"/>
                  </a:cubicBezTo>
                  <a:cubicBezTo>
                    <a:pt x="76" y="350"/>
                    <a:pt x="152" y="266"/>
                    <a:pt x="250" y="253"/>
                  </a:cubicBezTo>
                  <a:cubicBezTo>
                    <a:pt x="250" y="244"/>
                    <a:pt x="249" y="237"/>
                    <a:pt x="249" y="229"/>
                  </a:cubicBezTo>
                  <a:cubicBezTo>
                    <a:pt x="249" y="103"/>
                    <a:pt x="353" y="0"/>
                    <a:pt x="481" y="0"/>
                  </a:cubicBezTo>
                  <a:cubicBezTo>
                    <a:pt x="586" y="0"/>
                    <a:pt x="674" y="69"/>
                    <a:pt x="703" y="163"/>
                  </a:cubicBezTo>
                  <a:cubicBezTo>
                    <a:pt x="718" y="156"/>
                    <a:pt x="734" y="151"/>
                    <a:pt x="752" y="151"/>
                  </a:cubicBezTo>
                  <a:cubicBezTo>
                    <a:pt x="813" y="151"/>
                    <a:pt x="862" y="198"/>
                    <a:pt x="867" y="256"/>
                  </a:cubicBezTo>
                  <a:cubicBezTo>
                    <a:pt x="887" y="247"/>
                    <a:pt x="910" y="241"/>
                    <a:pt x="933" y="241"/>
                  </a:cubicBezTo>
                  <a:cubicBezTo>
                    <a:pt x="994" y="241"/>
                    <a:pt x="1046" y="276"/>
                    <a:pt x="1071" y="326"/>
                  </a:cubicBezTo>
                  <a:cubicBezTo>
                    <a:pt x="1148" y="341"/>
                    <a:pt x="1207" y="408"/>
                    <a:pt x="1207" y="489"/>
                  </a:cubicBezTo>
                  <a:close/>
                  <a:moveTo>
                    <a:pt x="947" y="1103"/>
                  </a:moveTo>
                  <a:cubicBezTo>
                    <a:pt x="947" y="1298"/>
                    <a:pt x="947" y="1298"/>
                    <a:pt x="947" y="1298"/>
                  </a:cubicBezTo>
                  <a:cubicBezTo>
                    <a:pt x="947" y="1303"/>
                    <a:pt x="943" y="1308"/>
                    <a:pt x="937" y="1308"/>
                  </a:cubicBezTo>
                  <a:cubicBezTo>
                    <a:pt x="327" y="1308"/>
                    <a:pt x="327" y="1308"/>
                    <a:pt x="327" y="1308"/>
                  </a:cubicBezTo>
                  <a:cubicBezTo>
                    <a:pt x="321" y="1308"/>
                    <a:pt x="317" y="1303"/>
                    <a:pt x="317" y="1298"/>
                  </a:cubicBezTo>
                  <a:cubicBezTo>
                    <a:pt x="317" y="1103"/>
                    <a:pt x="317" y="1103"/>
                    <a:pt x="317" y="1103"/>
                  </a:cubicBezTo>
                  <a:cubicBezTo>
                    <a:pt x="317" y="1098"/>
                    <a:pt x="321" y="1093"/>
                    <a:pt x="327" y="1093"/>
                  </a:cubicBezTo>
                  <a:cubicBezTo>
                    <a:pt x="937" y="1093"/>
                    <a:pt x="937" y="1093"/>
                    <a:pt x="937" y="1093"/>
                  </a:cubicBezTo>
                  <a:cubicBezTo>
                    <a:pt x="943" y="1093"/>
                    <a:pt x="947" y="1098"/>
                    <a:pt x="947" y="1103"/>
                  </a:cubicBezTo>
                  <a:close/>
                  <a:moveTo>
                    <a:pt x="478" y="1196"/>
                  </a:moveTo>
                  <a:cubicBezTo>
                    <a:pt x="478" y="1171"/>
                    <a:pt x="458" y="1151"/>
                    <a:pt x="433" y="1151"/>
                  </a:cubicBezTo>
                  <a:cubicBezTo>
                    <a:pt x="408" y="1151"/>
                    <a:pt x="387" y="1171"/>
                    <a:pt x="387" y="1196"/>
                  </a:cubicBezTo>
                  <a:cubicBezTo>
                    <a:pt x="387" y="1221"/>
                    <a:pt x="408" y="1242"/>
                    <a:pt x="433" y="1242"/>
                  </a:cubicBezTo>
                  <a:cubicBezTo>
                    <a:pt x="458" y="1242"/>
                    <a:pt x="478" y="1221"/>
                    <a:pt x="478" y="1196"/>
                  </a:cubicBezTo>
                  <a:close/>
                  <a:moveTo>
                    <a:pt x="820" y="1196"/>
                  </a:moveTo>
                  <a:cubicBezTo>
                    <a:pt x="820" y="1184"/>
                    <a:pt x="810" y="1174"/>
                    <a:pt x="798" y="1174"/>
                  </a:cubicBezTo>
                  <a:cubicBezTo>
                    <a:pt x="535" y="1174"/>
                    <a:pt x="535" y="1174"/>
                    <a:pt x="535" y="1174"/>
                  </a:cubicBezTo>
                  <a:cubicBezTo>
                    <a:pt x="522" y="1174"/>
                    <a:pt x="513" y="1184"/>
                    <a:pt x="513" y="1196"/>
                  </a:cubicBezTo>
                  <a:cubicBezTo>
                    <a:pt x="513" y="1209"/>
                    <a:pt x="522" y="1218"/>
                    <a:pt x="535" y="1218"/>
                  </a:cubicBezTo>
                  <a:cubicBezTo>
                    <a:pt x="798" y="1218"/>
                    <a:pt x="798" y="1218"/>
                    <a:pt x="798" y="1218"/>
                  </a:cubicBezTo>
                  <a:cubicBezTo>
                    <a:pt x="810" y="1218"/>
                    <a:pt x="820" y="1209"/>
                    <a:pt x="820" y="1196"/>
                  </a:cubicBezTo>
                  <a:close/>
                  <a:moveTo>
                    <a:pt x="947" y="1399"/>
                  </a:moveTo>
                  <a:cubicBezTo>
                    <a:pt x="947" y="1593"/>
                    <a:pt x="947" y="1593"/>
                    <a:pt x="947" y="1593"/>
                  </a:cubicBezTo>
                  <a:cubicBezTo>
                    <a:pt x="947" y="1599"/>
                    <a:pt x="943" y="1603"/>
                    <a:pt x="937" y="1603"/>
                  </a:cubicBezTo>
                  <a:cubicBezTo>
                    <a:pt x="327" y="1603"/>
                    <a:pt x="327" y="1603"/>
                    <a:pt x="327" y="1603"/>
                  </a:cubicBezTo>
                  <a:cubicBezTo>
                    <a:pt x="321" y="1603"/>
                    <a:pt x="317" y="1599"/>
                    <a:pt x="317" y="1593"/>
                  </a:cubicBezTo>
                  <a:cubicBezTo>
                    <a:pt x="317" y="1399"/>
                    <a:pt x="317" y="1399"/>
                    <a:pt x="317" y="1399"/>
                  </a:cubicBezTo>
                  <a:cubicBezTo>
                    <a:pt x="317" y="1393"/>
                    <a:pt x="321" y="1389"/>
                    <a:pt x="327" y="1389"/>
                  </a:cubicBezTo>
                  <a:cubicBezTo>
                    <a:pt x="937" y="1389"/>
                    <a:pt x="937" y="1389"/>
                    <a:pt x="937" y="1389"/>
                  </a:cubicBezTo>
                  <a:cubicBezTo>
                    <a:pt x="943" y="1389"/>
                    <a:pt x="947" y="1393"/>
                    <a:pt x="947" y="1399"/>
                  </a:cubicBezTo>
                  <a:close/>
                  <a:moveTo>
                    <a:pt x="478" y="1492"/>
                  </a:moveTo>
                  <a:cubicBezTo>
                    <a:pt x="478" y="1467"/>
                    <a:pt x="458" y="1446"/>
                    <a:pt x="433" y="1446"/>
                  </a:cubicBezTo>
                  <a:cubicBezTo>
                    <a:pt x="408" y="1446"/>
                    <a:pt x="387" y="1467"/>
                    <a:pt x="387" y="1492"/>
                  </a:cubicBezTo>
                  <a:cubicBezTo>
                    <a:pt x="387" y="1517"/>
                    <a:pt x="408" y="1537"/>
                    <a:pt x="433" y="1537"/>
                  </a:cubicBezTo>
                  <a:cubicBezTo>
                    <a:pt x="458" y="1537"/>
                    <a:pt x="478" y="1517"/>
                    <a:pt x="478" y="1492"/>
                  </a:cubicBezTo>
                  <a:close/>
                  <a:moveTo>
                    <a:pt x="820" y="1492"/>
                  </a:moveTo>
                  <a:cubicBezTo>
                    <a:pt x="820" y="1480"/>
                    <a:pt x="810" y="1470"/>
                    <a:pt x="798" y="1470"/>
                  </a:cubicBezTo>
                  <a:cubicBezTo>
                    <a:pt x="535" y="1470"/>
                    <a:pt x="535" y="1470"/>
                    <a:pt x="535" y="1470"/>
                  </a:cubicBezTo>
                  <a:cubicBezTo>
                    <a:pt x="522" y="1470"/>
                    <a:pt x="513" y="1480"/>
                    <a:pt x="513" y="1492"/>
                  </a:cubicBezTo>
                  <a:cubicBezTo>
                    <a:pt x="513" y="1504"/>
                    <a:pt x="522" y="1514"/>
                    <a:pt x="535" y="1514"/>
                  </a:cubicBezTo>
                  <a:cubicBezTo>
                    <a:pt x="798" y="1514"/>
                    <a:pt x="798" y="1514"/>
                    <a:pt x="798" y="1514"/>
                  </a:cubicBezTo>
                  <a:cubicBezTo>
                    <a:pt x="810" y="1514"/>
                    <a:pt x="820" y="1504"/>
                    <a:pt x="820" y="1492"/>
                  </a:cubicBezTo>
                  <a:close/>
                  <a:moveTo>
                    <a:pt x="947" y="1693"/>
                  </a:moveTo>
                  <a:cubicBezTo>
                    <a:pt x="947" y="1888"/>
                    <a:pt x="947" y="1888"/>
                    <a:pt x="947" y="1888"/>
                  </a:cubicBezTo>
                  <a:cubicBezTo>
                    <a:pt x="947" y="1893"/>
                    <a:pt x="943" y="1898"/>
                    <a:pt x="937" y="1898"/>
                  </a:cubicBezTo>
                  <a:cubicBezTo>
                    <a:pt x="327" y="1898"/>
                    <a:pt x="327" y="1898"/>
                    <a:pt x="327" y="1898"/>
                  </a:cubicBezTo>
                  <a:cubicBezTo>
                    <a:pt x="321" y="1898"/>
                    <a:pt x="317" y="1893"/>
                    <a:pt x="317" y="1888"/>
                  </a:cubicBezTo>
                  <a:cubicBezTo>
                    <a:pt x="317" y="1693"/>
                    <a:pt x="317" y="1693"/>
                    <a:pt x="317" y="1693"/>
                  </a:cubicBezTo>
                  <a:cubicBezTo>
                    <a:pt x="317" y="1688"/>
                    <a:pt x="321" y="1683"/>
                    <a:pt x="327" y="1683"/>
                  </a:cubicBezTo>
                  <a:cubicBezTo>
                    <a:pt x="937" y="1683"/>
                    <a:pt x="937" y="1683"/>
                    <a:pt x="937" y="1683"/>
                  </a:cubicBezTo>
                  <a:cubicBezTo>
                    <a:pt x="943" y="1683"/>
                    <a:pt x="947" y="1688"/>
                    <a:pt x="947" y="1693"/>
                  </a:cubicBezTo>
                  <a:close/>
                  <a:moveTo>
                    <a:pt x="478" y="1787"/>
                  </a:moveTo>
                  <a:cubicBezTo>
                    <a:pt x="478" y="1762"/>
                    <a:pt x="458" y="1741"/>
                    <a:pt x="433" y="1741"/>
                  </a:cubicBezTo>
                  <a:cubicBezTo>
                    <a:pt x="408" y="1741"/>
                    <a:pt x="387" y="1762"/>
                    <a:pt x="387" y="1787"/>
                  </a:cubicBezTo>
                  <a:cubicBezTo>
                    <a:pt x="387" y="1812"/>
                    <a:pt x="408" y="1832"/>
                    <a:pt x="433" y="1832"/>
                  </a:cubicBezTo>
                  <a:cubicBezTo>
                    <a:pt x="458" y="1832"/>
                    <a:pt x="478" y="1812"/>
                    <a:pt x="478" y="1787"/>
                  </a:cubicBezTo>
                  <a:close/>
                  <a:moveTo>
                    <a:pt x="820" y="1787"/>
                  </a:moveTo>
                  <a:cubicBezTo>
                    <a:pt x="820" y="1774"/>
                    <a:pt x="810" y="1765"/>
                    <a:pt x="798" y="1765"/>
                  </a:cubicBezTo>
                  <a:cubicBezTo>
                    <a:pt x="535" y="1765"/>
                    <a:pt x="535" y="1765"/>
                    <a:pt x="535" y="1765"/>
                  </a:cubicBezTo>
                  <a:cubicBezTo>
                    <a:pt x="522" y="1765"/>
                    <a:pt x="513" y="1774"/>
                    <a:pt x="513" y="1787"/>
                  </a:cubicBezTo>
                  <a:cubicBezTo>
                    <a:pt x="513" y="1799"/>
                    <a:pt x="522" y="1809"/>
                    <a:pt x="535" y="1809"/>
                  </a:cubicBezTo>
                  <a:cubicBezTo>
                    <a:pt x="798" y="1809"/>
                    <a:pt x="798" y="1809"/>
                    <a:pt x="798" y="1809"/>
                  </a:cubicBezTo>
                  <a:cubicBezTo>
                    <a:pt x="810" y="1809"/>
                    <a:pt x="820" y="1799"/>
                    <a:pt x="820" y="1787"/>
                  </a:cubicBezTo>
                  <a:close/>
                  <a:moveTo>
                    <a:pt x="1256" y="1168"/>
                  </a:moveTo>
                  <a:cubicBezTo>
                    <a:pt x="1079" y="1168"/>
                    <a:pt x="1079" y="1168"/>
                    <a:pt x="1079" y="1168"/>
                  </a:cubicBezTo>
                  <a:cubicBezTo>
                    <a:pt x="1079" y="1307"/>
                    <a:pt x="1079" y="1307"/>
                    <a:pt x="1079" y="1307"/>
                  </a:cubicBezTo>
                  <a:cubicBezTo>
                    <a:pt x="1256" y="1307"/>
                    <a:pt x="1256" y="1307"/>
                    <a:pt x="1256" y="1307"/>
                  </a:cubicBezTo>
                  <a:cubicBezTo>
                    <a:pt x="1262" y="1307"/>
                    <a:pt x="1266" y="1302"/>
                    <a:pt x="1266" y="1297"/>
                  </a:cubicBezTo>
                  <a:cubicBezTo>
                    <a:pt x="1266" y="1178"/>
                    <a:pt x="1266" y="1178"/>
                    <a:pt x="1266" y="1178"/>
                  </a:cubicBezTo>
                  <a:cubicBezTo>
                    <a:pt x="1266" y="1172"/>
                    <a:pt x="1262" y="1168"/>
                    <a:pt x="1256" y="1168"/>
                  </a:cubicBezTo>
                  <a:close/>
                  <a:moveTo>
                    <a:pt x="185" y="1168"/>
                  </a:moveTo>
                  <a:cubicBezTo>
                    <a:pt x="10" y="1168"/>
                    <a:pt x="10" y="1168"/>
                    <a:pt x="10" y="1168"/>
                  </a:cubicBezTo>
                  <a:cubicBezTo>
                    <a:pt x="4" y="1168"/>
                    <a:pt x="0" y="1172"/>
                    <a:pt x="0" y="1178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0" y="1302"/>
                    <a:pt x="4" y="1307"/>
                    <a:pt x="10" y="1307"/>
                  </a:cubicBezTo>
                  <a:cubicBezTo>
                    <a:pt x="185" y="1307"/>
                    <a:pt x="185" y="1307"/>
                    <a:pt x="185" y="1307"/>
                  </a:cubicBezTo>
                  <a:lnTo>
                    <a:pt x="185" y="1168"/>
                  </a:lnTo>
                  <a:close/>
                  <a:moveTo>
                    <a:pt x="185" y="1395"/>
                  </a:moveTo>
                  <a:cubicBezTo>
                    <a:pt x="10" y="1395"/>
                    <a:pt x="10" y="1395"/>
                    <a:pt x="10" y="1395"/>
                  </a:cubicBezTo>
                  <a:cubicBezTo>
                    <a:pt x="4" y="1395"/>
                    <a:pt x="0" y="1399"/>
                    <a:pt x="0" y="1405"/>
                  </a:cubicBezTo>
                  <a:cubicBezTo>
                    <a:pt x="0" y="1523"/>
                    <a:pt x="0" y="1523"/>
                    <a:pt x="0" y="1523"/>
                  </a:cubicBezTo>
                  <a:cubicBezTo>
                    <a:pt x="0" y="1529"/>
                    <a:pt x="4" y="1533"/>
                    <a:pt x="10" y="1533"/>
                  </a:cubicBezTo>
                  <a:cubicBezTo>
                    <a:pt x="185" y="1533"/>
                    <a:pt x="185" y="1533"/>
                    <a:pt x="185" y="1533"/>
                  </a:cubicBezTo>
                  <a:lnTo>
                    <a:pt x="185" y="1395"/>
                  </a:lnTo>
                  <a:close/>
                  <a:moveTo>
                    <a:pt x="1256" y="1395"/>
                  </a:moveTo>
                  <a:cubicBezTo>
                    <a:pt x="1079" y="1395"/>
                    <a:pt x="1079" y="1395"/>
                    <a:pt x="1079" y="1395"/>
                  </a:cubicBezTo>
                  <a:cubicBezTo>
                    <a:pt x="1079" y="1533"/>
                    <a:pt x="1079" y="1533"/>
                    <a:pt x="1079" y="1533"/>
                  </a:cubicBezTo>
                  <a:cubicBezTo>
                    <a:pt x="1256" y="1533"/>
                    <a:pt x="1256" y="1533"/>
                    <a:pt x="1256" y="1533"/>
                  </a:cubicBezTo>
                  <a:cubicBezTo>
                    <a:pt x="1262" y="1533"/>
                    <a:pt x="1266" y="1529"/>
                    <a:pt x="1266" y="1523"/>
                  </a:cubicBezTo>
                  <a:cubicBezTo>
                    <a:pt x="1266" y="1405"/>
                    <a:pt x="1266" y="1405"/>
                    <a:pt x="1266" y="1405"/>
                  </a:cubicBezTo>
                  <a:cubicBezTo>
                    <a:pt x="1266" y="1399"/>
                    <a:pt x="1262" y="1395"/>
                    <a:pt x="1256" y="1395"/>
                  </a:cubicBezTo>
                  <a:close/>
                  <a:moveTo>
                    <a:pt x="185" y="1620"/>
                  </a:moveTo>
                  <a:cubicBezTo>
                    <a:pt x="10" y="1620"/>
                    <a:pt x="10" y="1620"/>
                    <a:pt x="10" y="1620"/>
                  </a:cubicBezTo>
                  <a:cubicBezTo>
                    <a:pt x="4" y="1620"/>
                    <a:pt x="0" y="1624"/>
                    <a:pt x="0" y="1630"/>
                  </a:cubicBezTo>
                  <a:cubicBezTo>
                    <a:pt x="0" y="1749"/>
                    <a:pt x="0" y="1749"/>
                    <a:pt x="0" y="1749"/>
                  </a:cubicBezTo>
                  <a:cubicBezTo>
                    <a:pt x="0" y="1754"/>
                    <a:pt x="4" y="1759"/>
                    <a:pt x="10" y="1759"/>
                  </a:cubicBezTo>
                  <a:cubicBezTo>
                    <a:pt x="185" y="1759"/>
                    <a:pt x="185" y="1759"/>
                    <a:pt x="185" y="1759"/>
                  </a:cubicBezTo>
                  <a:lnTo>
                    <a:pt x="185" y="1620"/>
                  </a:lnTo>
                  <a:close/>
                  <a:moveTo>
                    <a:pt x="1256" y="1620"/>
                  </a:moveTo>
                  <a:cubicBezTo>
                    <a:pt x="1079" y="1620"/>
                    <a:pt x="1079" y="1620"/>
                    <a:pt x="1079" y="1620"/>
                  </a:cubicBezTo>
                  <a:cubicBezTo>
                    <a:pt x="1079" y="1759"/>
                    <a:pt x="1079" y="1759"/>
                    <a:pt x="1079" y="1759"/>
                  </a:cubicBezTo>
                  <a:cubicBezTo>
                    <a:pt x="1256" y="1759"/>
                    <a:pt x="1256" y="1759"/>
                    <a:pt x="1256" y="1759"/>
                  </a:cubicBezTo>
                  <a:cubicBezTo>
                    <a:pt x="1262" y="1759"/>
                    <a:pt x="1266" y="1754"/>
                    <a:pt x="1266" y="1749"/>
                  </a:cubicBezTo>
                  <a:cubicBezTo>
                    <a:pt x="1266" y="1630"/>
                    <a:pt x="1266" y="1630"/>
                    <a:pt x="1266" y="1630"/>
                  </a:cubicBezTo>
                  <a:cubicBezTo>
                    <a:pt x="1266" y="1624"/>
                    <a:pt x="1262" y="1620"/>
                    <a:pt x="1256" y="1620"/>
                  </a:cubicBezTo>
                  <a:close/>
                </a:path>
              </a:pathLst>
            </a:custGeom>
            <a:solidFill>
              <a:srgbClr val="199A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2" name="Oval 231">
            <a:extLst>
              <a:ext uri="{FF2B5EF4-FFF2-40B4-BE49-F238E27FC236}">
                <a16:creationId xmlns:a16="http://schemas.microsoft.com/office/drawing/2014/main" id="{F71A0469-36EB-47C6-8D9C-B5F1A3105561}"/>
              </a:ext>
            </a:extLst>
          </p:cNvPr>
          <p:cNvSpPr/>
          <p:nvPr/>
        </p:nvSpPr>
        <p:spPr>
          <a:xfrm>
            <a:off x="2576045" y="3046078"/>
            <a:ext cx="45720" cy="45720"/>
          </a:xfrm>
          <a:prstGeom prst="ellipse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42D53FC-D2E3-4F73-BAE3-E877463148E1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2C1B190-F1C8-471C-B671-5E50DF1C95C4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0626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62C911E-636F-E143-D35D-AF43E540D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4503"/>
            <a:ext cx="10338487" cy="646331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 </a:t>
            </a:r>
            <a:r>
              <a:rPr lang="en-US" sz="3600" b="1" dirty="0"/>
              <a:t>Introduction</a:t>
            </a:r>
          </a:p>
        </p:txBody>
      </p:sp>
      <p:sp>
        <p:nvSpPr>
          <p:cNvPr id="60" name="Slide Number Placeholder 59">
            <a:extLst>
              <a:ext uri="{FF2B5EF4-FFF2-40B4-BE49-F238E27FC236}">
                <a16:creationId xmlns:a16="http://schemas.microsoft.com/office/drawing/2014/main" id="{F2C27132-76A0-0920-4B42-16593608E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89297" y="6099482"/>
            <a:ext cx="2743200" cy="365125"/>
          </a:xfrm>
        </p:spPr>
        <p:txBody>
          <a:bodyPr/>
          <a:lstStyle/>
          <a:p>
            <a:fld id="{82D8B45F-2750-4785-822C-8A084A2F785F}" type="slidenum">
              <a:rPr lang="en-US" smtClean="0"/>
              <a:t>4</a:t>
            </a:fld>
            <a:endParaRPr lang="en-US" dirty="0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E7A40950-B183-32DC-CD0D-0938C733AB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570" y="366783"/>
            <a:ext cx="1787363" cy="670626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ADF220CB-3E5B-44E4-B086-5F8C854FB5F3}"/>
              </a:ext>
            </a:extLst>
          </p:cNvPr>
          <p:cNvSpPr/>
          <p:nvPr/>
        </p:nvSpPr>
        <p:spPr>
          <a:xfrm>
            <a:off x="436655" y="1419636"/>
            <a:ext cx="1408616" cy="777240"/>
          </a:xfrm>
          <a:prstGeom prst="rect">
            <a:avLst/>
          </a:prstGeom>
          <a:solidFill>
            <a:srgbClr val="068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SAIX</a:t>
            </a:r>
            <a:endParaRPr lang="en-GB" sz="1600" b="1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51C8700-E32C-4497-A500-6183F3567105}"/>
              </a:ext>
            </a:extLst>
          </p:cNvPr>
          <p:cNvSpPr/>
          <p:nvPr/>
        </p:nvSpPr>
        <p:spPr>
          <a:xfrm>
            <a:off x="1893234" y="1419636"/>
            <a:ext cx="9062299" cy="777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rgbClr val="000000"/>
                </a:solidFill>
              </a:rPr>
              <a:t>A </a:t>
            </a:r>
            <a:r>
              <a:rPr lang="en-US" sz="1600" b="1" dirty="0">
                <a:solidFill>
                  <a:srgbClr val="000000"/>
                </a:solidFill>
              </a:rPr>
              <a:t>neutral non-profit </a:t>
            </a:r>
            <a:r>
              <a:rPr lang="en-US" sz="1600" dirty="0">
                <a:solidFill>
                  <a:srgbClr val="000000"/>
                </a:solidFill>
              </a:rPr>
              <a:t>Internet Exchange Point which can </a:t>
            </a:r>
            <a:r>
              <a:rPr lang="en-US" sz="1600" b="1" dirty="0">
                <a:solidFill>
                  <a:srgbClr val="000000"/>
                </a:solidFill>
              </a:rPr>
              <a:t>enable the development </a:t>
            </a:r>
            <a:r>
              <a:rPr lang="en-US" sz="1600" dirty="0">
                <a:solidFill>
                  <a:srgbClr val="000000"/>
                </a:solidFill>
              </a:rPr>
              <a:t>of ICT services and the Internet ecosystem, by offering a world-class service for all networks to </a:t>
            </a:r>
            <a:r>
              <a:rPr lang="en-US" sz="1600" b="1" dirty="0">
                <a:solidFill>
                  <a:srgbClr val="000000"/>
                </a:solidFill>
              </a:rPr>
              <a:t>connect and peer</a:t>
            </a:r>
            <a:r>
              <a:rPr lang="en-US" sz="1600" dirty="0">
                <a:solidFill>
                  <a:srgbClr val="000000"/>
                </a:solidFill>
              </a:rPr>
              <a:t>, which can reduce cost, enhance performance, enable content localization, and improve investments. 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435BE98-0F4A-4163-9146-615A46E610EE}"/>
              </a:ext>
            </a:extLst>
          </p:cNvPr>
          <p:cNvSpPr/>
          <p:nvPr/>
        </p:nvSpPr>
        <p:spPr>
          <a:xfrm>
            <a:off x="5543550" y="2438660"/>
            <a:ext cx="5411983" cy="439546"/>
          </a:xfrm>
          <a:prstGeom prst="rect">
            <a:avLst/>
          </a:prstGeom>
          <a:solidFill>
            <a:srgbClr val="068E7B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7950" tIns="72009" rIns="107950" bIns="72009" rtlCol="0" anchor="ctr" anchorCtr="0">
            <a:noAutofit/>
          </a:bodyPr>
          <a:lstStyle/>
          <a:p>
            <a:pPr algn="ctr"/>
            <a:r>
              <a:rPr lang="en-GB" sz="1600" b="1" dirty="0">
                <a:solidFill>
                  <a:srgbClr val="FFFFFF"/>
                </a:solidFill>
                <a:sym typeface="Calibri" panose="020F0502020204030204" pitchFamily="34" charset="0"/>
              </a:rPr>
              <a:t>SAIX was lunched in 2018 as a collaboration betwe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8EC7E24-7553-4D40-BA52-95ADD7C120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70606" y="3179752"/>
            <a:ext cx="1270090" cy="1206695"/>
          </a:xfrm>
          <a:prstGeom prst="rect">
            <a:avLst/>
          </a:prstGeom>
          <a:solidFill>
            <a:srgbClr val="068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1500" b="1" dirty="0">
                <a:sym typeface="Trebuchet MS" panose="020B0603020202020204" pitchFamily="34" charset="0"/>
              </a:rPr>
              <a:t>Initiative Stakehold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05CBFF-09C9-41DD-81CE-A1D09925E5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70606" y="4753274"/>
            <a:ext cx="1270090" cy="1206695"/>
          </a:xfrm>
          <a:prstGeom prst="rect">
            <a:avLst/>
          </a:prstGeom>
          <a:solidFill>
            <a:srgbClr val="068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1500" b="1" dirty="0">
                <a:sym typeface="Trebuchet MS" panose="020B0603020202020204" pitchFamily="34" charset="0"/>
              </a:rPr>
              <a:t>Enabling Member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6A4BF05-0F93-4808-B78E-162EF321B055}"/>
              </a:ext>
            </a:extLst>
          </p:cNvPr>
          <p:cNvSpPr>
            <a:spLocks/>
          </p:cNvSpPr>
          <p:nvPr/>
        </p:nvSpPr>
        <p:spPr bwMode="gray">
          <a:xfrm>
            <a:off x="6940694" y="3179750"/>
            <a:ext cx="3877516" cy="1196866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7950" tIns="72009" rIns="107950" bIns="72009" rtlCol="0" anchor="ctr" anchorCtr="0">
            <a:noAutofit/>
          </a:bodyPr>
          <a:lstStyle/>
          <a:p>
            <a:pPr marR="0" lvl="0" algn="ctr" defTabSz="9001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8" charset="-128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CE8DAC-4D8F-4819-9FEC-27CFFB6953B7}"/>
              </a:ext>
            </a:extLst>
          </p:cNvPr>
          <p:cNvSpPr>
            <a:spLocks/>
          </p:cNvSpPr>
          <p:nvPr/>
        </p:nvSpPr>
        <p:spPr bwMode="gray">
          <a:xfrm>
            <a:off x="6940694" y="4774182"/>
            <a:ext cx="3877516" cy="1196866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7950" tIns="72009" rIns="107950" bIns="72009" rtlCol="0" anchor="ctr" anchorCtr="0">
            <a:noAutofit/>
          </a:bodyPr>
          <a:lstStyle/>
          <a:p>
            <a:pPr marR="0" lvl="0" algn="ctr" defTabSz="9001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8" charset="-128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97CE3D9D-F50B-4406-9F8B-2838BE3CB94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43788" y="5372615"/>
            <a:ext cx="578465" cy="51260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D4460DC-CEBB-4E0E-9423-E4B7DBCA27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7363" y="4774182"/>
            <a:ext cx="1032547" cy="54863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BA0C17E-57C3-4368-AA77-27F57CD41354}"/>
              </a:ext>
            </a:extLst>
          </p:cNvPr>
          <p:cNvGrpSpPr/>
          <p:nvPr/>
        </p:nvGrpSpPr>
        <p:grpSpPr>
          <a:xfrm>
            <a:off x="405258" y="2435979"/>
            <a:ext cx="4576809" cy="3433682"/>
            <a:chOff x="6378724" y="2315365"/>
            <a:chExt cx="4576809" cy="343368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BA32803-F950-4247-A669-B66C9FB94AD0}"/>
                </a:ext>
              </a:extLst>
            </p:cNvPr>
            <p:cNvSpPr/>
            <p:nvPr/>
          </p:nvSpPr>
          <p:spPr>
            <a:xfrm>
              <a:off x="6378724" y="2315365"/>
              <a:ext cx="4576809" cy="441292"/>
            </a:xfrm>
            <a:prstGeom prst="rect">
              <a:avLst/>
            </a:prstGeom>
            <a:solidFill>
              <a:srgbClr val="068E7B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7950" tIns="72009" rIns="107950" bIns="72009" rtlCol="0" anchor="ctr" anchorCtr="0"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FFFFFF"/>
                  </a:solidFill>
                  <a:sym typeface="Calibri" panose="020F0502020204030204" pitchFamily="34" charset="0"/>
                </a:rPr>
                <a:t>GOALS</a:t>
              </a:r>
              <a:endParaRPr lang="en-GB" sz="1400" b="1" dirty="0">
                <a:solidFill>
                  <a:srgbClr val="FFFFFF"/>
                </a:solidFill>
                <a:sym typeface="Calibri" panose="020F0502020204030204" pitchFamily="34" charset="0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44D8AB0-410A-430A-971F-C973EF004FDA}"/>
                </a:ext>
              </a:extLst>
            </p:cNvPr>
            <p:cNvGrpSpPr/>
            <p:nvPr/>
          </p:nvGrpSpPr>
          <p:grpSpPr>
            <a:xfrm>
              <a:off x="6429351" y="2793821"/>
              <a:ext cx="4399939" cy="2955226"/>
              <a:chOff x="1071994" y="2935632"/>
              <a:chExt cx="3839369" cy="2753258"/>
            </a:xfrm>
          </p:grpSpPr>
          <p:sp>
            <p:nvSpPr>
              <p:cNvPr id="57" name="Kingdom of Saudi Arabia">
                <a:extLst>
                  <a:ext uri="{FF2B5EF4-FFF2-40B4-BE49-F238E27FC236}">
                    <a16:creationId xmlns:a16="http://schemas.microsoft.com/office/drawing/2014/main" id="{C4A085F5-A6C6-49F0-9621-2F99D7EF19D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71994" y="2935632"/>
                <a:ext cx="3839369" cy="2735028"/>
              </a:xfrm>
              <a:custGeom>
                <a:avLst/>
                <a:gdLst>
                  <a:gd name="T0" fmla="*/ 1124 w 3289"/>
                  <a:gd name="T1" fmla="*/ 2597 h 2687"/>
                  <a:gd name="T2" fmla="*/ 377 w 3289"/>
                  <a:gd name="T3" fmla="*/ 1155 h 2687"/>
                  <a:gd name="T4" fmla="*/ 343 w 3289"/>
                  <a:gd name="T5" fmla="*/ 1161 h 2687"/>
                  <a:gd name="T6" fmla="*/ 383 w 3289"/>
                  <a:gd name="T7" fmla="*/ 1181 h 2687"/>
                  <a:gd name="T8" fmla="*/ 2351 w 3289"/>
                  <a:gd name="T9" fmla="*/ 857 h 2687"/>
                  <a:gd name="T10" fmla="*/ 1176 w 3289"/>
                  <a:gd name="T11" fmla="*/ 2629 h 2687"/>
                  <a:gd name="T12" fmla="*/ 1148 w 3289"/>
                  <a:gd name="T13" fmla="*/ 2635 h 2687"/>
                  <a:gd name="T14" fmla="*/ 1166 w 3289"/>
                  <a:gd name="T15" fmla="*/ 2623 h 2687"/>
                  <a:gd name="T16" fmla="*/ 8 w 3289"/>
                  <a:gd name="T17" fmla="*/ 739 h 2687"/>
                  <a:gd name="T18" fmla="*/ 321 w 3289"/>
                  <a:gd name="T19" fmla="*/ 1149 h 2687"/>
                  <a:gd name="T20" fmla="*/ 359 w 3289"/>
                  <a:gd name="T21" fmla="*/ 1173 h 2687"/>
                  <a:gd name="T22" fmla="*/ 3034 w 3289"/>
                  <a:gd name="T23" fmla="*/ 1638 h 2687"/>
                  <a:gd name="T24" fmla="*/ 2632 w 3289"/>
                  <a:gd name="T25" fmla="*/ 1373 h 2687"/>
                  <a:gd name="T26" fmla="*/ 2636 w 3289"/>
                  <a:gd name="T27" fmla="*/ 1324 h 2687"/>
                  <a:gd name="T28" fmla="*/ 2526 w 3289"/>
                  <a:gd name="T29" fmla="*/ 1295 h 2687"/>
                  <a:gd name="T30" fmla="*/ 2470 w 3289"/>
                  <a:gd name="T31" fmla="*/ 1172 h 2687"/>
                  <a:gd name="T32" fmla="*/ 2423 w 3289"/>
                  <a:gd name="T33" fmla="*/ 1085 h 2687"/>
                  <a:gd name="T34" fmla="*/ 2427 w 3289"/>
                  <a:gd name="T35" fmla="*/ 1065 h 2687"/>
                  <a:gd name="T36" fmla="*/ 2415 w 3289"/>
                  <a:gd name="T37" fmla="*/ 963 h 2687"/>
                  <a:gd name="T38" fmla="*/ 2333 w 3289"/>
                  <a:gd name="T39" fmla="*/ 883 h 2687"/>
                  <a:gd name="T40" fmla="*/ 2307 w 3289"/>
                  <a:gd name="T41" fmla="*/ 863 h 2687"/>
                  <a:gd name="T42" fmla="*/ 2287 w 3289"/>
                  <a:gd name="T43" fmla="*/ 837 h 2687"/>
                  <a:gd name="T44" fmla="*/ 2245 w 3289"/>
                  <a:gd name="T45" fmla="*/ 807 h 2687"/>
                  <a:gd name="T46" fmla="*/ 2227 w 3289"/>
                  <a:gd name="T47" fmla="*/ 783 h 2687"/>
                  <a:gd name="T48" fmla="*/ 2219 w 3289"/>
                  <a:gd name="T49" fmla="*/ 749 h 2687"/>
                  <a:gd name="T50" fmla="*/ 2177 w 3289"/>
                  <a:gd name="T51" fmla="*/ 671 h 2687"/>
                  <a:gd name="T52" fmla="*/ 1867 w 3289"/>
                  <a:gd name="T53" fmla="*/ 547 h 2687"/>
                  <a:gd name="T54" fmla="*/ 1358 w 3289"/>
                  <a:gd name="T55" fmla="*/ 343 h 2687"/>
                  <a:gd name="T56" fmla="*/ 757 w 3289"/>
                  <a:gd name="T57" fmla="*/ 6 h 2687"/>
                  <a:gd name="T58" fmla="*/ 479 w 3289"/>
                  <a:gd name="T59" fmla="*/ 353 h 2687"/>
                  <a:gd name="T60" fmla="*/ 70 w 3289"/>
                  <a:gd name="T61" fmla="*/ 515 h 2687"/>
                  <a:gd name="T62" fmla="*/ 28 w 3289"/>
                  <a:gd name="T63" fmla="*/ 691 h 2687"/>
                  <a:gd name="T64" fmla="*/ 14 w 3289"/>
                  <a:gd name="T65" fmla="*/ 723 h 2687"/>
                  <a:gd name="T66" fmla="*/ 40 w 3289"/>
                  <a:gd name="T67" fmla="*/ 719 h 2687"/>
                  <a:gd name="T68" fmla="*/ 57 w 3289"/>
                  <a:gd name="T69" fmla="*/ 719 h 2687"/>
                  <a:gd name="T70" fmla="*/ 105 w 3289"/>
                  <a:gd name="T71" fmla="*/ 729 h 2687"/>
                  <a:gd name="T72" fmla="*/ 171 w 3289"/>
                  <a:gd name="T73" fmla="*/ 839 h 2687"/>
                  <a:gd name="T74" fmla="*/ 343 w 3289"/>
                  <a:gd name="T75" fmla="*/ 1099 h 2687"/>
                  <a:gd name="T76" fmla="*/ 401 w 3289"/>
                  <a:gd name="T77" fmla="*/ 1185 h 2687"/>
                  <a:gd name="T78" fmla="*/ 427 w 3289"/>
                  <a:gd name="T79" fmla="*/ 1295 h 2687"/>
                  <a:gd name="T80" fmla="*/ 529 w 3289"/>
                  <a:gd name="T81" fmla="*/ 1394 h 2687"/>
                  <a:gd name="T82" fmla="*/ 601 w 3289"/>
                  <a:gd name="T83" fmla="*/ 1450 h 2687"/>
                  <a:gd name="T84" fmla="*/ 655 w 3289"/>
                  <a:gd name="T85" fmla="*/ 1542 h 2687"/>
                  <a:gd name="T86" fmla="*/ 695 w 3289"/>
                  <a:gd name="T87" fmla="*/ 1620 h 2687"/>
                  <a:gd name="T88" fmla="*/ 725 w 3289"/>
                  <a:gd name="T89" fmla="*/ 1700 h 2687"/>
                  <a:gd name="T90" fmla="*/ 699 w 3289"/>
                  <a:gd name="T91" fmla="*/ 1790 h 2687"/>
                  <a:gd name="T92" fmla="*/ 725 w 3289"/>
                  <a:gd name="T93" fmla="*/ 1850 h 2687"/>
                  <a:gd name="T94" fmla="*/ 757 w 3289"/>
                  <a:gd name="T95" fmla="*/ 1948 h 2687"/>
                  <a:gd name="T96" fmla="*/ 785 w 3289"/>
                  <a:gd name="T97" fmla="*/ 1992 h 2687"/>
                  <a:gd name="T98" fmla="*/ 876 w 3289"/>
                  <a:gd name="T99" fmla="*/ 2056 h 2687"/>
                  <a:gd name="T100" fmla="*/ 970 w 3289"/>
                  <a:gd name="T101" fmla="*/ 2130 h 2687"/>
                  <a:gd name="T102" fmla="*/ 1018 w 3289"/>
                  <a:gd name="T103" fmla="*/ 2228 h 2687"/>
                  <a:gd name="T104" fmla="*/ 1056 w 3289"/>
                  <a:gd name="T105" fmla="*/ 2326 h 2687"/>
                  <a:gd name="T106" fmla="*/ 1090 w 3289"/>
                  <a:gd name="T107" fmla="*/ 2384 h 2687"/>
                  <a:gd name="T108" fmla="*/ 1156 w 3289"/>
                  <a:gd name="T109" fmla="*/ 2461 h 2687"/>
                  <a:gd name="T110" fmla="*/ 1226 w 3289"/>
                  <a:gd name="T111" fmla="*/ 2579 h 2687"/>
                  <a:gd name="T112" fmla="*/ 1280 w 3289"/>
                  <a:gd name="T113" fmla="*/ 2639 h 2687"/>
                  <a:gd name="T114" fmla="*/ 1354 w 3289"/>
                  <a:gd name="T115" fmla="*/ 2623 h 2687"/>
                  <a:gd name="T116" fmla="*/ 1398 w 3289"/>
                  <a:gd name="T117" fmla="*/ 2500 h 2687"/>
                  <a:gd name="T118" fmla="*/ 1576 w 3289"/>
                  <a:gd name="T119" fmla="*/ 2517 h 2687"/>
                  <a:gd name="T120" fmla="*/ 2263 w 3289"/>
                  <a:gd name="T121" fmla="*/ 2328 h 2687"/>
                  <a:gd name="T122" fmla="*/ 3195 w 3289"/>
                  <a:gd name="T123" fmla="*/ 2068 h 2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9" h="2687">
                    <a:moveTo>
                      <a:pt x="201" y="897"/>
                    </a:moveTo>
                    <a:lnTo>
                      <a:pt x="201" y="895"/>
                    </a:lnTo>
                    <a:lnTo>
                      <a:pt x="201" y="895"/>
                    </a:lnTo>
                    <a:lnTo>
                      <a:pt x="199" y="891"/>
                    </a:lnTo>
                    <a:lnTo>
                      <a:pt x="197" y="889"/>
                    </a:lnTo>
                    <a:lnTo>
                      <a:pt x="197" y="889"/>
                    </a:lnTo>
                    <a:lnTo>
                      <a:pt x="197" y="891"/>
                    </a:lnTo>
                    <a:lnTo>
                      <a:pt x="197" y="893"/>
                    </a:lnTo>
                    <a:lnTo>
                      <a:pt x="199" y="897"/>
                    </a:lnTo>
                    <a:lnTo>
                      <a:pt x="203" y="899"/>
                    </a:lnTo>
                    <a:lnTo>
                      <a:pt x="201" y="897"/>
                    </a:lnTo>
                    <a:lnTo>
                      <a:pt x="201" y="897"/>
                    </a:lnTo>
                    <a:close/>
                    <a:moveTo>
                      <a:pt x="405" y="1262"/>
                    </a:moveTo>
                    <a:lnTo>
                      <a:pt x="405" y="1262"/>
                    </a:lnTo>
                    <a:lnTo>
                      <a:pt x="403" y="1262"/>
                    </a:lnTo>
                    <a:lnTo>
                      <a:pt x="401" y="1263"/>
                    </a:lnTo>
                    <a:lnTo>
                      <a:pt x="401" y="1265"/>
                    </a:lnTo>
                    <a:lnTo>
                      <a:pt x="403" y="1265"/>
                    </a:lnTo>
                    <a:lnTo>
                      <a:pt x="405" y="1265"/>
                    </a:lnTo>
                    <a:lnTo>
                      <a:pt x="405" y="1265"/>
                    </a:lnTo>
                    <a:lnTo>
                      <a:pt x="407" y="1268"/>
                    </a:lnTo>
                    <a:lnTo>
                      <a:pt x="409" y="1268"/>
                    </a:lnTo>
                    <a:lnTo>
                      <a:pt x="409" y="1265"/>
                    </a:lnTo>
                    <a:lnTo>
                      <a:pt x="407" y="1263"/>
                    </a:lnTo>
                    <a:lnTo>
                      <a:pt x="405" y="1262"/>
                    </a:lnTo>
                    <a:close/>
                    <a:moveTo>
                      <a:pt x="1120" y="2591"/>
                    </a:moveTo>
                    <a:lnTo>
                      <a:pt x="1118" y="2591"/>
                    </a:lnTo>
                    <a:lnTo>
                      <a:pt x="1116" y="2593"/>
                    </a:lnTo>
                    <a:lnTo>
                      <a:pt x="1114" y="2595"/>
                    </a:lnTo>
                    <a:lnTo>
                      <a:pt x="1112" y="2597"/>
                    </a:lnTo>
                    <a:lnTo>
                      <a:pt x="1114" y="2599"/>
                    </a:lnTo>
                    <a:lnTo>
                      <a:pt x="1114" y="2599"/>
                    </a:lnTo>
                    <a:lnTo>
                      <a:pt x="1116" y="2601"/>
                    </a:lnTo>
                    <a:lnTo>
                      <a:pt x="1116" y="2601"/>
                    </a:lnTo>
                    <a:lnTo>
                      <a:pt x="1118" y="2601"/>
                    </a:lnTo>
                    <a:lnTo>
                      <a:pt x="1120" y="2601"/>
                    </a:lnTo>
                    <a:lnTo>
                      <a:pt x="1122" y="2599"/>
                    </a:lnTo>
                    <a:lnTo>
                      <a:pt x="1122" y="2599"/>
                    </a:lnTo>
                    <a:lnTo>
                      <a:pt x="1124" y="2597"/>
                    </a:lnTo>
                    <a:lnTo>
                      <a:pt x="1124" y="2595"/>
                    </a:lnTo>
                    <a:lnTo>
                      <a:pt x="1122" y="2593"/>
                    </a:lnTo>
                    <a:lnTo>
                      <a:pt x="1120" y="2591"/>
                    </a:lnTo>
                    <a:close/>
                    <a:moveTo>
                      <a:pt x="323" y="1115"/>
                    </a:moveTo>
                    <a:lnTo>
                      <a:pt x="325" y="1113"/>
                    </a:lnTo>
                    <a:lnTo>
                      <a:pt x="327" y="1111"/>
                    </a:lnTo>
                    <a:lnTo>
                      <a:pt x="327" y="1111"/>
                    </a:lnTo>
                    <a:lnTo>
                      <a:pt x="323" y="1115"/>
                    </a:lnTo>
                    <a:lnTo>
                      <a:pt x="319" y="1121"/>
                    </a:lnTo>
                    <a:lnTo>
                      <a:pt x="319" y="1127"/>
                    </a:lnTo>
                    <a:lnTo>
                      <a:pt x="321" y="1131"/>
                    </a:lnTo>
                    <a:lnTo>
                      <a:pt x="321" y="1133"/>
                    </a:lnTo>
                    <a:lnTo>
                      <a:pt x="321" y="1135"/>
                    </a:lnTo>
                    <a:lnTo>
                      <a:pt x="323" y="1135"/>
                    </a:lnTo>
                    <a:lnTo>
                      <a:pt x="327" y="1137"/>
                    </a:lnTo>
                    <a:lnTo>
                      <a:pt x="329" y="1139"/>
                    </a:lnTo>
                    <a:lnTo>
                      <a:pt x="329" y="1137"/>
                    </a:lnTo>
                    <a:lnTo>
                      <a:pt x="331" y="1137"/>
                    </a:lnTo>
                    <a:lnTo>
                      <a:pt x="331" y="1135"/>
                    </a:lnTo>
                    <a:lnTo>
                      <a:pt x="329" y="1137"/>
                    </a:lnTo>
                    <a:lnTo>
                      <a:pt x="327" y="1135"/>
                    </a:lnTo>
                    <a:lnTo>
                      <a:pt x="327" y="1135"/>
                    </a:lnTo>
                    <a:lnTo>
                      <a:pt x="327" y="1133"/>
                    </a:lnTo>
                    <a:lnTo>
                      <a:pt x="327" y="1131"/>
                    </a:lnTo>
                    <a:lnTo>
                      <a:pt x="329" y="1129"/>
                    </a:lnTo>
                    <a:lnTo>
                      <a:pt x="329" y="1127"/>
                    </a:lnTo>
                    <a:lnTo>
                      <a:pt x="327" y="1127"/>
                    </a:lnTo>
                    <a:lnTo>
                      <a:pt x="327" y="1127"/>
                    </a:lnTo>
                    <a:lnTo>
                      <a:pt x="323" y="1125"/>
                    </a:lnTo>
                    <a:lnTo>
                      <a:pt x="323" y="1121"/>
                    </a:lnTo>
                    <a:lnTo>
                      <a:pt x="323" y="1117"/>
                    </a:lnTo>
                    <a:lnTo>
                      <a:pt x="323" y="1115"/>
                    </a:lnTo>
                    <a:close/>
                    <a:moveTo>
                      <a:pt x="379" y="1159"/>
                    </a:moveTo>
                    <a:lnTo>
                      <a:pt x="379" y="1159"/>
                    </a:lnTo>
                    <a:lnTo>
                      <a:pt x="381" y="1157"/>
                    </a:lnTo>
                    <a:lnTo>
                      <a:pt x="379" y="1157"/>
                    </a:lnTo>
                    <a:lnTo>
                      <a:pt x="379" y="1155"/>
                    </a:lnTo>
                    <a:lnTo>
                      <a:pt x="377" y="1153"/>
                    </a:lnTo>
                    <a:lnTo>
                      <a:pt x="377" y="1155"/>
                    </a:lnTo>
                    <a:lnTo>
                      <a:pt x="375" y="1155"/>
                    </a:lnTo>
                    <a:lnTo>
                      <a:pt x="375" y="1157"/>
                    </a:lnTo>
                    <a:lnTo>
                      <a:pt x="375" y="1159"/>
                    </a:lnTo>
                    <a:lnTo>
                      <a:pt x="375" y="1163"/>
                    </a:lnTo>
                    <a:lnTo>
                      <a:pt x="377" y="1165"/>
                    </a:lnTo>
                    <a:lnTo>
                      <a:pt x="377" y="1165"/>
                    </a:lnTo>
                    <a:lnTo>
                      <a:pt x="379" y="1169"/>
                    </a:lnTo>
                    <a:lnTo>
                      <a:pt x="379" y="1167"/>
                    </a:lnTo>
                    <a:lnTo>
                      <a:pt x="379" y="1163"/>
                    </a:lnTo>
                    <a:lnTo>
                      <a:pt x="377" y="1161"/>
                    </a:lnTo>
                    <a:lnTo>
                      <a:pt x="379" y="1161"/>
                    </a:lnTo>
                    <a:lnTo>
                      <a:pt x="379" y="1159"/>
                    </a:lnTo>
                    <a:lnTo>
                      <a:pt x="377" y="1159"/>
                    </a:lnTo>
                    <a:lnTo>
                      <a:pt x="377" y="1159"/>
                    </a:lnTo>
                    <a:lnTo>
                      <a:pt x="379" y="1159"/>
                    </a:lnTo>
                    <a:close/>
                    <a:moveTo>
                      <a:pt x="359" y="1173"/>
                    </a:moveTo>
                    <a:lnTo>
                      <a:pt x="361" y="1173"/>
                    </a:lnTo>
                    <a:lnTo>
                      <a:pt x="361" y="1175"/>
                    </a:lnTo>
                    <a:lnTo>
                      <a:pt x="363" y="1173"/>
                    </a:lnTo>
                    <a:lnTo>
                      <a:pt x="365" y="1175"/>
                    </a:lnTo>
                    <a:lnTo>
                      <a:pt x="365" y="1178"/>
                    </a:lnTo>
                    <a:lnTo>
                      <a:pt x="365" y="1178"/>
                    </a:lnTo>
                    <a:lnTo>
                      <a:pt x="367" y="1179"/>
                    </a:lnTo>
                    <a:lnTo>
                      <a:pt x="369" y="1179"/>
                    </a:lnTo>
                    <a:lnTo>
                      <a:pt x="371" y="1181"/>
                    </a:lnTo>
                    <a:lnTo>
                      <a:pt x="373" y="1181"/>
                    </a:lnTo>
                    <a:lnTo>
                      <a:pt x="373" y="1181"/>
                    </a:lnTo>
                    <a:lnTo>
                      <a:pt x="373" y="1181"/>
                    </a:lnTo>
                    <a:lnTo>
                      <a:pt x="373" y="1179"/>
                    </a:lnTo>
                    <a:lnTo>
                      <a:pt x="371" y="1179"/>
                    </a:lnTo>
                    <a:lnTo>
                      <a:pt x="367" y="1173"/>
                    </a:lnTo>
                    <a:lnTo>
                      <a:pt x="363" y="1172"/>
                    </a:lnTo>
                    <a:lnTo>
                      <a:pt x="361" y="1172"/>
                    </a:lnTo>
                    <a:lnTo>
                      <a:pt x="357" y="1169"/>
                    </a:lnTo>
                    <a:lnTo>
                      <a:pt x="357" y="1167"/>
                    </a:lnTo>
                    <a:lnTo>
                      <a:pt x="357" y="1165"/>
                    </a:lnTo>
                    <a:lnTo>
                      <a:pt x="349" y="1161"/>
                    </a:lnTo>
                    <a:lnTo>
                      <a:pt x="345" y="1159"/>
                    </a:lnTo>
                    <a:lnTo>
                      <a:pt x="343" y="1161"/>
                    </a:lnTo>
                    <a:lnTo>
                      <a:pt x="341" y="1163"/>
                    </a:lnTo>
                    <a:lnTo>
                      <a:pt x="341" y="1165"/>
                    </a:lnTo>
                    <a:lnTo>
                      <a:pt x="343" y="1163"/>
                    </a:lnTo>
                    <a:lnTo>
                      <a:pt x="343" y="1163"/>
                    </a:lnTo>
                    <a:lnTo>
                      <a:pt x="345" y="1163"/>
                    </a:lnTo>
                    <a:lnTo>
                      <a:pt x="347" y="1163"/>
                    </a:lnTo>
                    <a:lnTo>
                      <a:pt x="349" y="1163"/>
                    </a:lnTo>
                    <a:lnTo>
                      <a:pt x="351" y="1165"/>
                    </a:lnTo>
                    <a:lnTo>
                      <a:pt x="351" y="1167"/>
                    </a:lnTo>
                    <a:lnTo>
                      <a:pt x="351" y="1167"/>
                    </a:lnTo>
                    <a:lnTo>
                      <a:pt x="351" y="1167"/>
                    </a:lnTo>
                    <a:lnTo>
                      <a:pt x="353" y="1167"/>
                    </a:lnTo>
                    <a:lnTo>
                      <a:pt x="355" y="1167"/>
                    </a:lnTo>
                    <a:lnTo>
                      <a:pt x="355" y="1169"/>
                    </a:lnTo>
                    <a:lnTo>
                      <a:pt x="355" y="1172"/>
                    </a:lnTo>
                    <a:lnTo>
                      <a:pt x="357" y="1172"/>
                    </a:lnTo>
                    <a:lnTo>
                      <a:pt x="357" y="1172"/>
                    </a:lnTo>
                    <a:lnTo>
                      <a:pt x="359" y="1173"/>
                    </a:lnTo>
                    <a:close/>
                    <a:moveTo>
                      <a:pt x="367" y="1167"/>
                    </a:moveTo>
                    <a:lnTo>
                      <a:pt x="369" y="1165"/>
                    </a:lnTo>
                    <a:lnTo>
                      <a:pt x="371" y="1165"/>
                    </a:lnTo>
                    <a:lnTo>
                      <a:pt x="371" y="1163"/>
                    </a:lnTo>
                    <a:lnTo>
                      <a:pt x="369" y="1161"/>
                    </a:lnTo>
                    <a:lnTo>
                      <a:pt x="367" y="1159"/>
                    </a:lnTo>
                    <a:lnTo>
                      <a:pt x="365" y="1161"/>
                    </a:lnTo>
                    <a:lnTo>
                      <a:pt x="365" y="1163"/>
                    </a:lnTo>
                    <a:lnTo>
                      <a:pt x="367" y="1165"/>
                    </a:lnTo>
                    <a:lnTo>
                      <a:pt x="367" y="1167"/>
                    </a:lnTo>
                    <a:close/>
                    <a:moveTo>
                      <a:pt x="395" y="1185"/>
                    </a:moveTo>
                    <a:lnTo>
                      <a:pt x="395" y="1181"/>
                    </a:lnTo>
                    <a:lnTo>
                      <a:pt x="393" y="1179"/>
                    </a:lnTo>
                    <a:lnTo>
                      <a:pt x="393" y="1181"/>
                    </a:lnTo>
                    <a:lnTo>
                      <a:pt x="393" y="1181"/>
                    </a:lnTo>
                    <a:lnTo>
                      <a:pt x="391" y="1178"/>
                    </a:lnTo>
                    <a:lnTo>
                      <a:pt x="389" y="1178"/>
                    </a:lnTo>
                    <a:lnTo>
                      <a:pt x="387" y="1175"/>
                    </a:lnTo>
                    <a:lnTo>
                      <a:pt x="385" y="1175"/>
                    </a:lnTo>
                    <a:lnTo>
                      <a:pt x="383" y="1178"/>
                    </a:lnTo>
                    <a:lnTo>
                      <a:pt x="383" y="1181"/>
                    </a:lnTo>
                    <a:lnTo>
                      <a:pt x="383" y="1181"/>
                    </a:lnTo>
                    <a:lnTo>
                      <a:pt x="385" y="1181"/>
                    </a:lnTo>
                    <a:lnTo>
                      <a:pt x="385" y="1181"/>
                    </a:lnTo>
                    <a:lnTo>
                      <a:pt x="387" y="1184"/>
                    </a:lnTo>
                    <a:lnTo>
                      <a:pt x="387" y="1185"/>
                    </a:lnTo>
                    <a:lnTo>
                      <a:pt x="389" y="1184"/>
                    </a:lnTo>
                    <a:lnTo>
                      <a:pt x="391" y="1185"/>
                    </a:lnTo>
                    <a:lnTo>
                      <a:pt x="391" y="1185"/>
                    </a:lnTo>
                    <a:lnTo>
                      <a:pt x="391" y="1187"/>
                    </a:lnTo>
                    <a:lnTo>
                      <a:pt x="395" y="1190"/>
                    </a:lnTo>
                    <a:lnTo>
                      <a:pt x="397" y="1190"/>
                    </a:lnTo>
                    <a:lnTo>
                      <a:pt x="395" y="1190"/>
                    </a:lnTo>
                    <a:lnTo>
                      <a:pt x="395" y="1187"/>
                    </a:lnTo>
                    <a:lnTo>
                      <a:pt x="397" y="1187"/>
                    </a:lnTo>
                    <a:lnTo>
                      <a:pt x="397" y="1187"/>
                    </a:lnTo>
                    <a:lnTo>
                      <a:pt x="397" y="1187"/>
                    </a:lnTo>
                    <a:lnTo>
                      <a:pt x="397" y="1187"/>
                    </a:lnTo>
                    <a:lnTo>
                      <a:pt x="395" y="1185"/>
                    </a:lnTo>
                    <a:close/>
                    <a:moveTo>
                      <a:pt x="2329" y="859"/>
                    </a:moveTo>
                    <a:lnTo>
                      <a:pt x="2331" y="857"/>
                    </a:lnTo>
                    <a:lnTo>
                      <a:pt x="2333" y="855"/>
                    </a:lnTo>
                    <a:lnTo>
                      <a:pt x="2335" y="855"/>
                    </a:lnTo>
                    <a:lnTo>
                      <a:pt x="2337" y="855"/>
                    </a:lnTo>
                    <a:lnTo>
                      <a:pt x="2339" y="853"/>
                    </a:lnTo>
                    <a:lnTo>
                      <a:pt x="2339" y="853"/>
                    </a:lnTo>
                    <a:lnTo>
                      <a:pt x="2341" y="853"/>
                    </a:lnTo>
                    <a:lnTo>
                      <a:pt x="2343" y="855"/>
                    </a:lnTo>
                    <a:lnTo>
                      <a:pt x="2343" y="857"/>
                    </a:lnTo>
                    <a:lnTo>
                      <a:pt x="2343" y="857"/>
                    </a:lnTo>
                    <a:lnTo>
                      <a:pt x="2341" y="859"/>
                    </a:lnTo>
                    <a:lnTo>
                      <a:pt x="2341" y="859"/>
                    </a:lnTo>
                    <a:lnTo>
                      <a:pt x="2341" y="859"/>
                    </a:lnTo>
                    <a:lnTo>
                      <a:pt x="2343" y="861"/>
                    </a:lnTo>
                    <a:lnTo>
                      <a:pt x="2343" y="861"/>
                    </a:lnTo>
                    <a:lnTo>
                      <a:pt x="2345" y="861"/>
                    </a:lnTo>
                    <a:lnTo>
                      <a:pt x="2345" y="861"/>
                    </a:lnTo>
                    <a:lnTo>
                      <a:pt x="2347" y="859"/>
                    </a:lnTo>
                    <a:lnTo>
                      <a:pt x="2349" y="859"/>
                    </a:lnTo>
                    <a:lnTo>
                      <a:pt x="2351" y="857"/>
                    </a:lnTo>
                    <a:lnTo>
                      <a:pt x="2355" y="857"/>
                    </a:lnTo>
                    <a:lnTo>
                      <a:pt x="2357" y="857"/>
                    </a:lnTo>
                    <a:lnTo>
                      <a:pt x="2359" y="859"/>
                    </a:lnTo>
                    <a:lnTo>
                      <a:pt x="2361" y="859"/>
                    </a:lnTo>
                    <a:lnTo>
                      <a:pt x="2365" y="859"/>
                    </a:lnTo>
                    <a:lnTo>
                      <a:pt x="2349" y="853"/>
                    </a:lnTo>
                    <a:lnTo>
                      <a:pt x="2345" y="853"/>
                    </a:lnTo>
                    <a:lnTo>
                      <a:pt x="2343" y="851"/>
                    </a:lnTo>
                    <a:lnTo>
                      <a:pt x="2341" y="851"/>
                    </a:lnTo>
                    <a:lnTo>
                      <a:pt x="2339" y="849"/>
                    </a:lnTo>
                    <a:lnTo>
                      <a:pt x="2335" y="851"/>
                    </a:lnTo>
                    <a:lnTo>
                      <a:pt x="2331" y="853"/>
                    </a:lnTo>
                    <a:lnTo>
                      <a:pt x="2327" y="859"/>
                    </a:lnTo>
                    <a:lnTo>
                      <a:pt x="2329" y="863"/>
                    </a:lnTo>
                    <a:lnTo>
                      <a:pt x="2329" y="859"/>
                    </a:lnTo>
                    <a:close/>
                    <a:moveTo>
                      <a:pt x="1192" y="2645"/>
                    </a:moveTo>
                    <a:lnTo>
                      <a:pt x="1192" y="2643"/>
                    </a:lnTo>
                    <a:lnTo>
                      <a:pt x="1194" y="2641"/>
                    </a:lnTo>
                    <a:lnTo>
                      <a:pt x="1194" y="2637"/>
                    </a:lnTo>
                    <a:lnTo>
                      <a:pt x="1194" y="2635"/>
                    </a:lnTo>
                    <a:lnTo>
                      <a:pt x="1192" y="2633"/>
                    </a:lnTo>
                    <a:lnTo>
                      <a:pt x="1194" y="2633"/>
                    </a:lnTo>
                    <a:lnTo>
                      <a:pt x="1190" y="2631"/>
                    </a:lnTo>
                    <a:lnTo>
                      <a:pt x="1188" y="2629"/>
                    </a:lnTo>
                    <a:lnTo>
                      <a:pt x="1186" y="2627"/>
                    </a:lnTo>
                    <a:lnTo>
                      <a:pt x="1184" y="2629"/>
                    </a:lnTo>
                    <a:lnTo>
                      <a:pt x="1182" y="2621"/>
                    </a:lnTo>
                    <a:lnTo>
                      <a:pt x="1180" y="2619"/>
                    </a:lnTo>
                    <a:lnTo>
                      <a:pt x="1180" y="2617"/>
                    </a:lnTo>
                    <a:lnTo>
                      <a:pt x="1178" y="2615"/>
                    </a:lnTo>
                    <a:lnTo>
                      <a:pt x="1176" y="2617"/>
                    </a:lnTo>
                    <a:lnTo>
                      <a:pt x="1174" y="2617"/>
                    </a:lnTo>
                    <a:lnTo>
                      <a:pt x="1174" y="2623"/>
                    </a:lnTo>
                    <a:lnTo>
                      <a:pt x="1172" y="2625"/>
                    </a:lnTo>
                    <a:lnTo>
                      <a:pt x="1172" y="2627"/>
                    </a:lnTo>
                    <a:lnTo>
                      <a:pt x="1176" y="2631"/>
                    </a:lnTo>
                    <a:lnTo>
                      <a:pt x="1176" y="2629"/>
                    </a:lnTo>
                    <a:lnTo>
                      <a:pt x="1176" y="2629"/>
                    </a:lnTo>
                    <a:lnTo>
                      <a:pt x="1176" y="2629"/>
                    </a:lnTo>
                    <a:lnTo>
                      <a:pt x="1176" y="2629"/>
                    </a:lnTo>
                    <a:lnTo>
                      <a:pt x="1176" y="2629"/>
                    </a:lnTo>
                    <a:lnTo>
                      <a:pt x="1178" y="2629"/>
                    </a:lnTo>
                    <a:lnTo>
                      <a:pt x="1178" y="2631"/>
                    </a:lnTo>
                    <a:lnTo>
                      <a:pt x="1180" y="2633"/>
                    </a:lnTo>
                    <a:lnTo>
                      <a:pt x="1172" y="2633"/>
                    </a:lnTo>
                    <a:lnTo>
                      <a:pt x="1172" y="2633"/>
                    </a:lnTo>
                    <a:lnTo>
                      <a:pt x="1170" y="2631"/>
                    </a:lnTo>
                    <a:lnTo>
                      <a:pt x="1168" y="2631"/>
                    </a:lnTo>
                    <a:lnTo>
                      <a:pt x="1166" y="2629"/>
                    </a:lnTo>
                    <a:lnTo>
                      <a:pt x="1164" y="2631"/>
                    </a:lnTo>
                    <a:lnTo>
                      <a:pt x="1160" y="2633"/>
                    </a:lnTo>
                    <a:lnTo>
                      <a:pt x="1156" y="2631"/>
                    </a:lnTo>
                    <a:lnTo>
                      <a:pt x="1154" y="2629"/>
                    </a:lnTo>
                    <a:lnTo>
                      <a:pt x="1150" y="2627"/>
                    </a:lnTo>
                    <a:lnTo>
                      <a:pt x="1150" y="2625"/>
                    </a:lnTo>
                    <a:lnTo>
                      <a:pt x="1148" y="2625"/>
                    </a:lnTo>
                    <a:lnTo>
                      <a:pt x="1146" y="2621"/>
                    </a:lnTo>
                    <a:lnTo>
                      <a:pt x="1146" y="2617"/>
                    </a:lnTo>
                    <a:lnTo>
                      <a:pt x="1146" y="2617"/>
                    </a:lnTo>
                    <a:lnTo>
                      <a:pt x="1144" y="2615"/>
                    </a:lnTo>
                    <a:lnTo>
                      <a:pt x="1144" y="2615"/>
                    </a:lnTo>
                    <a:lnTo>
                      <a:pt x="1142" y="2613"/>
                    </a:lnTo>
                    <a:lnTo>
                      <a:pt x="1132" y="2607"/>
                    </a:lnTo>
                    <a:lnTo>
                      <a:pt x="1130" y="2605"/>
                    </a:lnTo>
                    <a:lnTo>
                      <a:pt x="1130" y="2609"/>
                    </a:lnTo>
                    <a:lnTo>
                      <a:pt x="1132" y="2611"/>
                    </a:lnTo>
                    <a:lnTo>
                      <a:pt x="1132" y="2613"/>
                    </a:lnTo>
                    <a:lnTo>
                      <a:pt x="1134" y="2615"/>
                    </a:lnTo>
                    <a:lnTo>
                      <a:pt x="1134" y="2615"/>
                    </a:lnTo>
                    <a:lnTo>
                      <a:pt x="1132" y="2619"/>
                    </a:lnTo>
                    <a:lnTo>
                      <a:pt x="1132" y="2619"/>
                    </a:lnTo>
                    <a:lnTo>
                      <a:pt x="1132" y="2621"/>
                    </a:lnTo>
                    <a:lnTo>
                      <a:pt x="1134" y="2621"/>
                    </a:lnTo>
                    <a:lnTo>
                      <a:pt x="1136" y="2621"/>
                    </a:lnTo>
                    <a:lnTo>
                      <a:pt x="1136" y="2623"/>
                    </a:lnTo>
                    <a:lnTo>
                      <a:pt x="1140" y="2627"/>
                    </a:lnTo>
                    <a:lnTo>
                      <a:pt x="1144" y="2631"/>
                    </a:lnTo>
                    <a:lnTo>
                      <a:pt x="1148" y="2635"/>
                    </a:lnTo>
                    <a:lnTo>
                      <a:pt x="1156" y="2637"/>
                    </a:lnTo>
                    <a:lnTo>
                      <a:pt x="1160" y="2641"/>
                    </a:lnTo>
                    <a:lnTo>
                      <a:pt x="1164" y="2643"/>
                    </a:lnTo>
                    <a:lnTo>
                      <a:pt x="1166" y="2641"/>
                    </a:lnTo>
                    <a:lnTo>
                      <a:pt x="1170" y="2639"/>
                    </a:lnTo>
                    <a:lnTo>
                      <a:pt x="1172" y="2639"/>
                    </a:lnTo>
                    <a:lnTo>
                      <a:pt x="1178" y="2639"/>
                    </a:lnTo>
                    <a:lnTo>
                      <a:pt x="1182" y="2639"/>
                    </a:lnTo>
                    <a:lnTo>
                      <a:pt x="1182" y="2641"/>
                    </a:lnTo>
                    <a:lnTo>
                      <a:pt x="1184" y="2645"/>
                    </a:lnTo>
                    <a:lnTo>
                      <a:pt x="1184" y="2647"/>
                    </a:lnTo>
                    <a:lnTo>
                      <a:pt x="1180" y="2647"/>
                    </a:lnTo>
                    <a:lnTo>
                      <a:pt x="1184" y="2651"/>
                    </a:lnTo>
                    <a:lnTo>
                      <a:pt x="1188" y="2655"/>
                    </a:lnTo>
                    <a:lnTo>
                      <a:pt x="1194" y="2655"/>
                    </a:lnTo>
                    <a:lnTo>
                      <a:pt x="1196" y="2653"/>
                    </a:lnTo>
                    <a:lnTo>
                      <a:pt x="1196" y="2651"/>
                    </a:lnTo>
                    <a:lnTo>
                      <a:pt x="1192" y="2645"/>
                    </a:lnTo>
                    <a:close/>
                    <a:moveTo>
                      <a:pt x="1154" y="2597"/>
                    </a:moveTo>
                    <a:lnTo>
                      <a:pt x="1152" y="2599"/>
                    </a:lnTo>
                    <a:lnTo>
                      <a:pt x="1150" y="2601"/>
                    </a:lnTo>
                    <a:lnTo>
                      <a:pt x="1148" y="2601"/>
                    </a:lnTo>
                    <a:lnTo>
                      <a:pt x="1144" y="2601"/>
                    </a:lnTo>
                    <a:lnTo>
                      <a:pt x="1142" y="2603"/>
                    </a:lnTo>
                    <a:lnTo>
                      <a:pt x="1144" y="2607"/>
                    </a:lnTo>
                    <a:lnTo>
                      <a:pt x="1146" y="2613"/>
                    </a:lnTo>
                    <a:lnTo>
                      <a:pt x="1150" y="2617"/>
                    </a:lnTo>
                    <a:lnTo>
                      <a:pt x="1152" y="2619"/>
                    </a:lnTo>
                    <a:lnTo>
                      <a:pt x="1154" y="2621"/>
                    </a:lnTo>
                    <a:lnTo>
                      <a:pt x="1154" y="2621"/>
                    </a:lnTo>
                    <a:lnTo>
                      <a:pt x="1156" y="2623"/>
                    </a:lnTo>
                    <a:lnTo>
                      <a:pt x="1158" y="2623"/>
                    </a:lnTo>
                    <a:lnTo>
                      <a:pt x="1158" y="2623"/>
                    </a:lnTo>
                    <a:lnTo>
                      <a:pt x="1158" y="2623"/>
                    </a:lnTo>
                    <a:lnTo>
                      <a:pt x="1160" y="2623"/>
                    </a:lnTo>
                    <a:lnTo>
                      <a:pt x="1160" y="2623"/>
                    </a:lnTo>
                    <a:lnTo>
                      <a:pt x="1164" y="2625"/>
                    </a:lnTo>
                    <a:lnTo>
                      <a:pt x="1164" y="2625"/>
                    </a:lnTo>
                    <a:lnTo>
                      <a:pt x="1166" y="2623"/>
                    </a:lnTo>
                    <a:lnTo>
                      <a:pt x="1166" y="2621"/>
                    </a:lnTo>
                    <a:lnTo>
                      <a:pt x="1164" y="2617"/>
                    </a:lnTo>
                    <a:lnTo>
                      <a:pt x="1162" y="2615"/>
                    </a:lnTo>
                    <a:lnTo>
                      <a:pt x="1158" y="2615"/>
                    </a:lnTo>
                    <a:lnTo>
                      <a:pt x="1158" y="2611"/>
                    </a:lnTo>
                    <a:lnTo>
                      <a:pt x="1160" y="2609"/>
                    </a:lnTo>
                    <a:lnTo>
                      <a:pt x="1164" y="2609"/>
                    </a:lnTo>
                    <a:lnTo>
                      <a:pt x="1162" y="2605"/>
                    </a:lnTo>
                    <a:lnTo>
                      <a:pt x="1160" y="2603"/>
                    </a:lnTo>
                    <a:lnTo>
                      <a:pt x="1160" y="2599"/>
                    </a:lnTo>
                    <a:lnTo>
                      <a:pt x="1160" y="2595"/>
                    </a:lnTo>
                    <a:lnTo>
                      <a:pt x="1158" y="2591"/>
                    </a:lnTo>
                    <a:lnTo>
                      <a:pt x="1156" y="2587"/>
                    </a:lnTo>
                    <a:lnTo>
                      <a:pt x="1152" y="2585"/>
                    </a:lnTo>
                    <a:lnTo>
                      <a:pt x="1146" y="2585"/>
                    </a:lnTo>
                    <a:lnTo>
                      <a:pt x="1146" y="2583"/>
                    </a:lnTo>
                    <a:lnTo>
                      <a:pt x="1144" y="2585"/>
                    </a:lnTo>
                    <a:lnTo>
                      <a:pt x="1144" y="2585"/>
                    </a:lnTo>
                    <a:lnTo>
                      <a:pt x="1144" y="2587"/>
                    </a:lnTo>
                    <a:lnTo>
                      <a:pt x="1146" y="2587"/>
                    </a:lnTo>
                    <a:lnTo>
                      <a:pt x="1150" y="2587"/>
                    </a:lnTo>
                    <a:lnTo>
                      <a:pt x="1152" y="2587"/>
                    </a:lnTo>
                    <a:lnTo>
                      <a:pt x="1156" y="2589"/>
                    </a:lnTo>
                    <a:lnTo>
                      <a:pt x="1156" y="2593"/>
                    </a:lnTo>
                    <a:lnTo>
                      <a:pt x="1156" y="2597"/>
                    </a:lnTo>
                    <a:lnTo>
                      <a:pt x="1154" y="2597"/>
                    </a:lnTo>
                    <a:close/>
                    <a:moveTo>
                      <a:pt x="14" y="747"/>
                    </a:moveTo>
                    <a:lnTo>
                      <a:pt x="14" y="745"/>
                    </a:lnTo>
                    <a:lnTo>
                      <a:pt x="14" y="743"/>
                    </a:lnTo>
                    <a:lnTo>
                      <a:pt x="12" y="743"/>
                    </a:lnTo>
                    <a:lnTo>
                      <a:pt x="12" y="743"/>
                    </a:lnTo>
                    <a:lnTo>
                      <a:pt x="10" y="745"/>
                    </a:lnTo>
                    <a:lnTo>
                      <a:pt x="6" y="745"/>
                    </a:lnTo>
                    <a:lnTo>
                      <a:pt x="4" y="745"/>
                    </a:lnTo>
                    <a:lnTo>
                      <a:pt x="2" y="743"/>
                    </a:lnTo>
                    <a:lnTo>
                      <a:pt x="2" y="741"/>
                    </a:lnTo>
                    <a:lnTo>
                      <a:pt x="4" y="741"/>
                    </a:lnTo>
                    <a:lnTo>
                      <a:pt x="8" y="739"/>
                    </a:lnTo>
                    <a:lnTo>
                      <a:pt x="8" y="739"/>
                    </a:lnTo>
                    <a:lnTo>
                      <a:pt x="6" y="737"/>
                    </a:lnTo>
                    <a:lnTo>
                      <a:pt x="4" y="737"/>
                    </a:lnTo>
                    <a:lnTo>
                      <a:pt x="4" y="737"/>
                    </a:lnTo>
                    <a:lnTo>
                      <a:pt x="2" y="737"/>
                    </a:lnTo>
                    <a:lnTo>
                      <a:pt x="2" y="739"/>
                    </a:lnTo>
                    <a:lnTo>
                      <a:pt x="0" y="739"/>
                    </a:lnTo>
                    <a:lnTo>
                      <a:pt x="0" y="739"/>
                    </a:lnTo>
                    <a:lnTo>
                      <a:pt x="0" y="739"/>
                    </a:lnTo>
                    <a:lnTo>
                      <a:pt x="0" y="739"/>
                    </a:lnTo>
                    <a:lnTo>
                      <a:pt x="0" y="741"/>
                    </a:lnTo>
                    <a:lnTo>
                      <a:pt x="2" y="745"/>
                    </a:lnTo>
                    <a:lnTo>
                      <a:pt x="0" y="747"/>
                    </a:lnTo>
                    <a:lnTo>
                      <a:pt x="4" y="751"/>
                    </a:lnTo>
                    <a:lnTo>
                      <a:pt x="8" y="753"/>
                    </a:lnTo>
                    <a:lnTo>
                      <a:pt x="14" y="753"/>
                    </a:lnTo>
                    <a:lnTo>
                      <a:pt x="20" y="753"/>
                    </a:lnTo>
                    <a:lnTo>
                      <a:pt x="20" y="751"/>
                    </a:lnTo>
                    <a:lnTo>
                      <a:pt x="14" y="747"/>
                    </a:lnTo>
                    <a:lnTo>
                      <a:pt x="14" y="747"/>
                    </a:lnTo>
                    <a:close/>
                    <a:moveTo>
                      <a:pt x="341" y="1159"/>
                    </a:moveTo>
                    <a:lnTo>
                      <a:pt x="339" y="1159"/>
                    </a:lnTo>
                    <a:lnTo>
                      <a:pt x="339" y="1157"/>
                    </a:lnTo>
                    <a:lnTo>
                      <a:pt x="337" y="1159"/>
                    </a:lnTo>
                    <a:lnTo>
                      <a:pt x="337" y="1159"/>
                    </a:lnTo>
                    <a:lnTo>
                      <a:pt x="337" y="1159"/>
                    </a:lnTo>
                    <a:lnTo>
                      <a:pt x="337" y="1159"/>
                    </a:lnTo>
                    <a:lnTo>
                      <a:pt x="337" y="1159"/>
                    </a:lnTo>
                    <a:lnTo>
                      <a:pt x="335" y="1159"/>
                    </a:lnTo>
                    <a:lnTo>
                      <a:pt x="335" y="1157"/>
                    </a:lnTo>
                    <a:lnTo>
                      <a:pt x="335" y="1157"/>
                    </a:lnTo>
                    <a:lnTo>
                      <a:pt x="333" y="1157"/>
                    </a:lnTo>
                    <a:lnTo>
                      <a:pt x="333" y="1157"/>
                    </a:lnTo>
                    <a:lnTo>
                      <a:pt x="331" y="1157"/>
                    </a:lnTo>
                    <a:lnTo>
                      <a:pt x="329" y="1155"/>
                    </a:lnTo>
                    <a:lnTo>
                      <a:pt x="325" y="1151"/>
                    </a:lnTo>
                    <a:lnTo>
                      <a:pt x="323" y="1151"/>
                    </a:lnTo>
                    <a:lnTo>
                      <a:pt x="321" y="1149"/>
                    </a:lnTo>
                    <a:lnTo>
                      <a:pt x="321" y="1149"/>
                    </a:lnTo>
                    <a:lnTo>
                      <a:pt x="321" y="1149"/>
                    </a:lnTo>
                    <a:lnTo>
                      <a:pt x="319" y="1149"/>
                    </a:lnTo>
                    <a:lnTo>
                      <a:pt x="319" y="1147"/>
                    </a:lnTo>
                    <a:lnTo>
                      <a:pt x="317" y="1145"/>
                    </a:lnTo>
                    <a:lnTo>
                      <a:pt x="317" y="1145"/>
                    </a:lnTo>
                    <a:lnTo>
                      <a:pt x="319" y="1141"/>
                    </a:lnTo>
                    <a:lnTo>
                      <a:pt x="321" y="1139"/>
                    </a:lnTo>
                    <a:lnTo>
                      <a:pt x="321" y="1137"/>
                    </a:lnTo>
                    <a:lnTo>
                      <a:pt x="319" y="1137"/>
                    </a:lnTo>
                    <a:lnTo>
                      <a:pt x="317" y="1141"/>
                    </a:lnTo>
                    <a:lnTo>
                      <a:pt x="313" y="1145"/>
                    </a:lnTo>
                    <a:lnTo>
                      <a:pt x="313" y="1147"/>
                    </a:lnTo>
                    <a:lnTo>
                      <a:pt x="313" y="1151"/>
                    </a:lnTo>
                    <a:lnTo>
                      <a:pt x="315" y="1153"/>
                    </a:lnTo>
                    <a:lnTo>
                      <a:pt x="317" y="1155"/>
                    </a:lnTo>
                    <a:lnTo>
                      <a:pt x="319" y="1157"/>
                    </a:lnTo>
                    <a:lnTo>
                      <a:pt x="321" y="1155"/>
                    </a:lnTo>
                    <a:lnTo>
                      <a:pt x="323" y="1155"/>
                    </a:lnTo>
                    <a:lnTo>
                      <a:pt x="337" y="1161"/>
                    </a:lnTo>
                    <a:lnTo>
                      <a:pt x="339" y="1163"/>
                    </a:lnTo>
                    <a:lnTo>
                      <a:pt x="339" y="1163"/>
                    </a:lnTo>
                    <a:lnTo>
                      <a:pt x="341" y="1163"/>
                    </a:lnTo>
                    <a:lnTo>
                      <a:pt x="341" y="1161"/>
                    </a:lnTo>
                    <a:lnTo>
                      <a:pt x="341" y="1159"/>
                    </a:lnTo>
                    <a:close/>
                    <a:moveTo>
                      <a:pt x="383" y="1185"/>
                    </a:moveTo>
                    <a:lnTo>
                      <a:pt x="381" y="1187"/>
                    </a:lnTo>
                    <a:lnTo>
                      <a:pt x="379" y="1190"/>
                    </a:lnTo>
                    <a:lnTo>
                      <a:pt x="377" y="1191"/>
                    </a:lnTo>
                    <a:lnTo>
                      <a:pt x="375" y="1190"/>
                    </a:lnTo>
                    <a:lnTo>
                      <a:pt x="375" y="1185"/>
                    </a:lnTo>
                    <a:lnTo>
                      <a:pt x="379" y="1185"/>
                    </a:lnTo>
                    <a:lnTo>
                      <a:pt x="379" y="1185"/>
                    </a:lnTo>
                    <a:lnTo>
                      <a:pt x="377" y="1184"/>
                    </a:lnTo>
                    <a:lnTo>
                      <a:pt x="375" y="1184"/>
                    </a:lnTo>
                    <a:lnTo>
                      <a:pt x="373" y="1184"/>
                    </a:lnTo>
                    <a:lnTo>
                      <a:pt x="367" y="1181"/>
                    </a:lnTo>
                    <a:lnTo>
                      <a:pt x="363" y="1179"/>
                    </a:lnTo>
                    <a:lnTo>
                      <a:pt x="363" y="1178"/>
                    </a:lnTo>
                    <a:lnTo>
                      <a:pt x="359" y="1175"/>
                    </a:lnTo>
                    <a:lnTo>
                      <a:pt x="359" y="1173"/>
                    </a:lnTo>
                    <a:lnTo>
                      <a:pt x="357" y="1173"/>
                    </a:lnTo>
                    <a:lnTo>
                      <a:pt x="357" y="1173"/>
                    </a:lnTo>
                    <a:lnTo>
                      <a:pt x="359" y="1178"/>
                    </a:lnTo>
                    <a:lnTo>
                      <a:pt x="359" y="1179"/>
                    </a:lnTo>
                    <a:lnTo>
                      <a:pt x="359" y="1179"/>
                    </a:lnTo>
                    <a:lnTo>
                      <a:pt x="359" y="1179"/>
                    </a:lnTo>
                    <a:lnTo>
                      <a:pt x="359" y="1179"/>
                    </a:lnTo>
                    <a:lnTo>
                      <a:pt x="359" y="1179"/>
                    </a:lnTo>
                    <a:lnTo>
                      <a:pt x="359" y="1181"/>
                    </a:lnTo>
                    <a:lnTo>
                      <a:pt x="361" y="1181"/>
                    </a:lnTo>
                    <a:lnTo>
                      <a:pt x="367" y="1190"/>
                    </a:lnTo>
                    <a:lnTo>
                      <a:pt x="369" y="1191"/>
                    </a:lnTo>
                    <a:lnTo>
                      <a:pt x="373" y="1193"/>
                    </a:lnTo>
                    <a:lnTo>
                      <a:pt x="375" y="1196"/>
                    </a:lnTo>
                    <a:lnTo>
                      <a:pt x="377" y="1196"/>
                    </a:lnTo>
                    <a:lnTo>
                      <a:pt x="379" y="1191"/>
                    </a:lnTo>
                    <a:lnTo>
                      <a:pt x="381" y="1190"/>
                    </a:lnTo>
                    <a:lnTo>
                      <a:pt x="383" y="1190"/>
                    </a:lnTo>
                    <a:lnTo>
                      <a:pt x="385" y="1187"/>
                    </a:lnTo>
                    <a:lnTo>
                      <a:pt x="385" y="1185"/>
                    </a:lnTo>
                    <a:lnTo>
                      <a:pt x="383" y="1185"/>
                    </a:lnTo>
                    <a:close/>
                    <a:moveTo>
                      <a:pt x="3289" y="1764"/>
                    </a:moveTo>
                    <a:lnTo>
                      <a:pt x="3287" y="1760"/>
                    </a:lnTo>
                    <a:lnTo>
                      <a:pt x="3279" y="1746"/>
                    </a:lnTo>
                    <a:lnTo>
                      <a:pt x="3267" y="1726"/>
                    </a:lnTo>
                    <a:lnTo>
                      <a:pt x="3255" y="1704"/>
                    </a:lnTo>
                    <a:lnTo>
                      <a:pt x="3241" y="1684"/>
                    </a:lnTo>
                    <a:lnTo>
                      <a:pt x="3229" y="1664"/>
                    </a:lnTo>
                    <a:lnTo>
                      <a:pt x="3219" y="1646"/>
                    </a:lnTo>
                    <a:lnTo>
                      <a:pt x="3209" y="1660"/>
                    </a:lnTo>
                    <a:lnTo>
                      <a:pt x="3207" y="1660"/>
                    </a:lnTo>
                    <a:lnTo>
                      <a:pt x="3185" y="1658"/>
                    </a:lnTo>
                    <a:lnTo>
                      <a:pt x="3163" y="1654"/>
                    </a:lnTo>
                    <a:lnTo>
                      <a:pt x="3143" y="1652"/>
                    </a:lnTo>
                    <a:lnTo>
                      <a:pt x="3121" y="1650"/>
                    </a:lnTo>
                    <a:lnTo>
                      <a:pt x="3099" y="1646"/>
                    </a:lnTo>
                    <a:lnTo>
                      <a:pt x="3077" y="1644"/>
                    </a:lnTo>
                    <a:lnTo>
                      <a:pt x="3055" y="1640"/>
                    </a:lnTo>
                    <a:lnTo>
                      <a:pt x="3034" y="1638"/>
                    </a:lnTo>
                    <a:lnTo>
                      <a:pt x="3013" y="1634"/>
                    </a:lnTo>
                    <a:lnTo>
                      <a:pt x="2991" y="1632"/>
                    </a:lnTo>
                    <a:lnTo>
                      <a:pt x="2968" y="1630"/>
                    </a:lnTo>
                    <a:lnTo>
                      <a:pt x="2947" y="1626"/>
                    </a:lnTo>
                    <a:lnTo>
                      <a:pt x="2924" y="1624"/>
                    </a:lnTo>
                    <a:lnTo>
                      <a:pt x="2905" y="1620"/>
                    </a:lnTo>
                    <a:lnTo>
                      <a:pt x="2882" y="1618"/>
                    </a:lnTo>
                    <a:lnTo>
                      <a:pt x="2861" y="1614"/>
                    </a:lnTo>
                    <a:lnTo>
                      <a:pt x="2838" y="1612"/>
                    </a:lnTo>
                    <a:lnTo>
                      <a:pt x="2814" y="1608"/>
                    </a:lnTo>
                    <a:lnTo>
                      <a:pt x="2810" y="1608"/>
                    </a:lnTo>
                    <a:lnTo>
                      <a:pt x="2806" y="1604"/>
                    </a:lnTo>
                    <a:lnTo>
                      <a:pt x="2798" y="1594"/>
                    </a:lnTo>
                    <a:lnTo>
                      <a:pt x="2790" y="1584"/>
                    </a:lnTo>
                    <a:lnTo>
                      <a:pt x="2782" y="1574"/>
                    </a:lnTo>
                    <a:lnTo>
                      <a:pt x="2774" y="1562"/>
                    </a:lnTo>
                    <a:lnTo>
                      <a:pt x="2766" y="1552"/>
                    </a:lnTo>
                    <a:lnTo>
                      <a:pt x="2758" y="1542"/>
                    </a:lnTo>
                    <a:lnTo>
                      <a:pt x="2750" y="1532"/>
                    </a:lnTo>
                    <a:lnTo>
                      <a:pt x="2742" y="1520"/>
                    </a:lnTo>
                    <a:lnTo>
                      <a:pt x="2734" y="1510"/>
                    </a:lnTo>
                    <a:lnTo>
                      <a:pt x="2726" y="1500"/>
                    </a:lnTo>
                    <a:lnTo>
                      <a:pt x="2718" y="1490"/>
                    </a:lnTo>
                    <a:lnTo>
                      <a:pt x="2708" y="1480"/>
                    </a:lnTo>
                    <a:lnTo>
                      <a:pt x="2700" y="1468"/>
                    </a:lnTo>
                    <a:lnTo>
                      <a:pt x="2692" y="1458"/>
                    </a:lnTo>
                    <a:lnTo>
                      <a:pt x="2684" y="1448"/>
                    </a:lnTo>
                    <a:lnTo>
                      <a:pt x="2676" y="1438"/>
                    </a:lnTo>
                    <a:lnTo>
                      <a:pt x="2668" y="1426"/>
                    </a:lnTo>
                    <a:lnTo>
                      <a:pt x="2660" y="1416"/>
                    </a:lnTo>
                    <a:lnTo>
                      <a:pt x="2658" y="1412"/>
                    </a:lnTo>
                    <a:lnTo>
                      <a:pt x="2656" y="1406"/>
                    </a:lnTo>
                    <a:lnTo>
                      <a:pt x="2656" y="1396"/>
                    </a:lnTo>
                    <a:lnTo>
                      <a:pt x="2656" y="1392"/>
                    </a:lnTo>
                    <a:lnTo>
                      <a:pt x="2656" y="1386"/>
                    </a:lnTo>
                    <a:lnTo>
                      <a:pt x="2650" y="1384"/>
                    </a:lnTo>
                    <a:lnTo>
                      <a:pt x="2644" y="1378"/>
                    </a:lnTo>
                    <a:lnTo>
                      <a:pt x="2642" y="1376"/>
                    </a:lnTo>
                    <a:lnTo>
                      <a:pt x="2632" y="1373"/>
                    </a:lnTo>
                    <a:lnTo>
                      <a:pt x="2630" y="1373"/>
                    </a:lnTo>
                    <a:lnTo>
                      <a:pt x="2628" y="1373"/>
                    </a:lnTo>
                    <a:lnTo>
                      <a:pt x="2626" y="1376"/>
                    </a:lnTo>
                    <a:lnTo>
                      <a:pt x="2624" y="1378"/>
                    </a:lnTo>
                    <a:lnTo>
                      <a:pt x="2620" y="1378"/>
                    </a:lnTo>
                    <a:lnTo>
                      <a:pt x="2612" y="1378"/>
                    </a:lnTo>
                    <a:lnTo>
                      <a:pt x="2610" y="1376"/>
                    </a:lnTo>
                    <a:lnTo>
                      <a:pt x="2610" y="1373"/>
                    </a:lnTo>
                    <a:lnTo>
                      <a:pt x="2610" y="1370"/>
                    </a:lnTo>
                    <a:lnTo>
                      <a:pt x="2610" y="1370"/>
                    </a:lnTo>
                    <a:lnTo>
                      <a:pt x="2612" y="1370"/>
                    </a:lnTo>
                    <a:lnTo>
                      <a:pt x="2614" y="1370"/>
                    </a:lnTo>
                    <a:lnTo>
                      <a:pt x="2614" y="1370"/>
                    </a:lnTo>
                    <a:lnTo>
                      <a:pt x="2614" y="1367"/>
                    </a:lnTo>
                    <a:lnTo>
                      <a:pt x="2614" y="1367"/>
                    </a:lnTo>
                    <a:lnTo>
                      <a:pt x="2614" y="1366"/>
                    </a:lnTo>
                    <a:lnTo>
                      <a:pt x="2614" y="1366"/>
                    </a:lnTo>
                    <a:lnTo>
                      <a:pt x="2614" y="1361"/>
                    </a:lnTo>
                    <a:lnTo>
                      <a:pt x="2614" y="1360"/>
                    </a:lnTo>
                    <a:lnTo>
                      <a:pt x="2616" y="1358"/>
                    </a:lnTo>
                    <a:lnTo>
                      <a:pt x="2618" y="1355"/>
                    </a:lnTo>
                    <a:lnTo>
                      <a:pt x="2618" y="1354"/>
                    </a:lnTo>
                    <a:lnTo>
                      <a:pt x="2620" y="1352"/>
                    </a:lnTo>
                    <a:lnTo>
                      <a:pt x="2628" y="1346"/>
                    </a:lnTo>
                    <a:lnTo>
                      <a:pt x="2630" y="1343"/>
                    </a:lnTo>
                    <a:lnTo>
                      <a:pt x="2630" y="1342"/>
                    </a:lnTo>
                    <a:lnTo>
                      <a:pt x="2632" y="1340"/>
                    </a:lnTo>
                    <a:lnTo>
                      <a:pt x="2634" y="1337"/>
                    </a:lnTo>
                    <a:lnTo>
                      <a:pt x="2636" y="1337"/>
                    </a:lnTo>
                    <a:lnTo>
                      <a:pt x="2636" y="1334"/>
                    </a:lnTo>
                    <a:lnTo>
                      <a:pt x="2640" y="1331"/>
                    </a:lnTo>
                    <a:lnTo>
                      <a:pt x="2642" y="1331"/>
                    </a:lnTo>
                    <a:lnTo>
                      <a:pt x="2644" y="1330"/>
                    </a:lnTo>
                    <a:lnTo>
                      <a:pt x="2644" y="1330"/>
                    </a:lnTo>
                    <a:lnTo>
                      <a:pt x="2642" y="1328"/>
                    </a:lnTo>
                    <a:lnTo>
                      <a:pt x="2640" y="1328"/>
                    </a:lnTo>
                    <a:lnTo>
                      <a:pt x="2638" y="1328"/>
                    </a:lnTo>
                    <a:lnTo>
                      <a:pt x="2638" y="1325"/>
                    </a:lnTo>
                    <a:lnTo>
                      <a:pt x="2636" y="1324"/>
                    </a:lnTo>
                    <a:lnTo>
                      <a:pt x="2634" y="1322"/>
                    </a:lnTo>
                    <a:lnTo>
                      <a:pt x="2632" y="1322"/>
                    </a:lnTo>
                    <a:lnTo>
                      <a:pt x="2630" y="1324"/>
                    </a:lnTo>
                    <a:lnTo>
                      <a:pt x="2628" y="1325"/>
                    </a:lnTo>
                    <a:lnTo>
                      <a:pt x="2628" y="1328"/>
                    </a:lnTo>
                    <a:lnTo>
                      <a:pt x="2626" y="1328"/>
                    </a:lnTo>
                    <a:lnTo>
                      <a:pt x="2624" y="1330"/>
                    </a:lnTo>
                    <a:lnTo>
                      <a:pt x="2620" y="1337"/>
                    </a:lnTo>
                    <a:lnTo>
                      <a:pt x="2618" y="1340"/>
                    </a:lnTo>
                    <a:lnTo>
                      <a:pt x="2614" y="1340"/>
                    </a:lnTo>
                    <a:lnTo>
                      <a:pt x="2614" y="1340"/>
                    </a:lnTo>
                    <a:lnTo>
                      <a:pt x="2614" y="1334"/>
                    </a:lnTo>
                    <a:lnTo>
                      <a:pt x="2614" y="1334"/>
                    </a:lnTo>
                    <a:lnTo>
                      <a:pt x="2612" y="1331"/>
                    </a:lnTo>
                    <a:lnTo>
                      <a:pt x="2612" y="1330"/>
                    </a:lnTo>
                    <a:lnTo>
                      <a:pt x="2614" y="1330"/>
                    </a:lnTo>
                    <a:lnTo>
                      <a:pt x="2614" y="1328"/>
                    </a:lnTo>
                    <a:lnTo>
                      <a:pt x="2614" y="1328"/>
                    </a:lnTo>
                    <a:lnTo>
                      <a:pt x="2616" y="1325"/>
                    </a:lnTo>
                    <a:lnTo>
                      <a:pt x="2614" y="1324"/>
                    </a:lnTo>
                    <a:lnTo>
                      <a:pt x="2614" y="1325"/>
                    </a:lnTo>
                    <a:lnTo>
                      <a:pt x="2612" y="1325"/>
                    </a:lnTo>
                    <a:lnTo>
                      <a:pt x="2610" y="1324"/>
                    </a:lnTo>
                    <a:lnTo>
                      <a:pt x="2610" y="1322"/>
                    </a:lnTo>
                    <a:lnTo>
                      <a:pt x="2602" y="1324"/>
                    </a:lnTo>
                    <a:lnTo>
                      <a:pt x="2600" y="1322"/>
                    </a:lnTo>
                    <a:lnTo>
                      <a:pt x="2590" y="1330"/>
                    </a:lnTo>
                    <a:lnTo>
                      <a:pt x="2582" y="1334"/>
                    </a:lnTo>
                    <a:lnTo>
                      <a:pt x="2574" y="1334"/>
                    </a:lnTo>
                    <a:lnTo>
                      <a:pt x="2564" y="1331"/>
                    </a:lnTo>
                    <a:lnTo>
                      <a:pt x="2556" y="1328"/>
                    </a:lnTo>
                    <a:lnTo>
                      <a:pt x="2548" y="1319"/>
                    </a:lnTo>
                    <a:lnTo>
                      <a:pt x="2538" y="1301"/>
                    </a:lnTo>
                    <a:lnTo>
                      <a:pt x="2534" y="1304"/>
                    </a:lnTo>
                    <a:lnTo>
                      <a:pt x="2532" y="1306"/>
                    </a:lnTo>
                    <a:lnTo>
                      <a:pt x="2530" y="1304"/>
                    </a:lnTo>
                    <a:lnTo>
                      <a:pt x="2528" y="1300"/>
                    </a:lnTo>
                    <a:lnTo>
                      <a:pt x="2528" y="1298"/>
                    </a:lnTo>
                    <a:lnTo>
                      <a:pt x="2526" y="1295"/>
                    </a:lnTo>
                    <a:lnTo>
                      <a:pt x="2526" y="1286"/>
                    </a:lnTo>
                    <a:lnTo>
                      <a:pt x="2524" y="1277"/>
                    </a:lnTo>
                    <a:lnTo>
                      <a:pt x="2522" y="1276"/>
                    </a:lnTo>
                    <a:lnTo>
                      <a:pt x="2518" y="1274"/>
                    </a:lnTo>
                    <a:lnTo>
                      <a:pt x="2514" y="1262"/>
                    </a:lnTo>
                    <a:lnTo>
                      <a:pt x="2512" y="1259"/>
                    </a:lnTo>
                    <a:lnTo>
                      <a:pt x="2510" y="1256"/>
                    </a:lnTo>
                    <a:lnTo>
                      <a:pt x="2506" y="1251"/>
                    </a:lnTo>
                    <a:lnTo>
                      <a:pt x="2502" y="1247"/>
                    </a:lnTo>
                    <a:lnTo>
                      <a:pt x="2500" y="1251"/>
                    </a:lnTo>
                    <a:lnTo>
                      <a:pt x="2500" y="1250"/>
                    </a:lnTo>
                    <a:lnTo>
                      <a:pt x="2498" y="1245"/>
                    </a:lnTo>
                    <a:lnTo>
                      <a:pt x="2496" y="1238"/>
                    </a:lnTo>
                    <a:lnTo>
                      <a:pt x="2498" y="1232"/>
                    </a:lnTo>
                    <a:lnTo>
                      <a:pt x="2498" y="1227"/>
                    </a:lnTo>
                    <a:lnTo>
                      <a:pt x="2494" y="1223"/>
                    </a:lnTo>
                    <a:lnTo>
                      <a:pt x="2494" y="1221"/>
                    </a:lnTo>
                    <a:lnTo>
                      <a:pt x="2494" y="1220"/>
                    </a:lnTo>
                    <a:lnTo>
                      <a:pt x="2492" y="1217"/>
                    </a:lnTo>
                    <a:lnTo>
                      <a:pt x="2492" y="1215"/>
                    </a:lnTo>
                    <a:lnTo>
                      <a:pt x="2492" y="1214"/>
                    </a:lnTo>
                    <a:lnTo>
                      <a:pt x="2494" y="1209"/>
                    </a:lnTo>
                    <a:lnTo>
                      <a:pt x="2494" y="1208"/>
                    </a:lnTo>
                    <a:lnTo>
                      <a:pt x="2492" y="1203"/>
                    </a:lnTo>
                    <a:lnTo>
                      <a:pt x="2490" y="1199"/>
                    </a:lnTo>
                    <a:lnTo>
                      <a:pt x="2488" y="1196"/>
                    </a:lnTo>
                    <a:lnTo>
                      <a:pt x="2488" y="1191"/>
                    </a:lnTo>
                    <a:lnTo>
                      <a:pt x="2488" y="1191"/>
                    </a:lnTo>
                    <a:lnTo>
                      <a:pt x="2486" y="1184"/>
                    </a:lnTo>
                    <a:lnTo>
                      <a:pt x="2484" y="1181"/>
                    </a:lnTo>
                    <a:lnTo>
                      <a:pt x="2478" y="1179"/>
                    </a:lnTo>
                    <a:lnTo>
                      <a:pt x="2476" y="1179"/>
                    </a:lnTo>
                    <a:lnTo>
                      <a:pt x="2474" y="1175"/>
                    </a:lnTo>
                    <a:lnTo>
                      <a:pt x="2474" y="1175"/>
                    </a:lnTo>
                    <a:lnTo>
                      <a:pt x="2474" y="1175"/>
                    </a:lnTo>
                    <a:lnTo>
                      <a:pt x="2472" y="1173"/>
                    </a:lnTo>
                    <a:lnTo>
                      <a:pt x="2472" y="1172"/>
                    </a:lnTo>
                    <a:lnTo>
                      <a:pt x="2472" y="1169"/>
                    </a:lnTo>
                    <a:lnTo>
                      <a:pt x="2470" y="1172"/>
                    </a:lnTo>
                    <a:lnTo>
                      <a:pt x="2468" y="1172"/>
                    </a:lnTo>
                    <a:lnTo>
                      <a:pt x="2468" y="1173"/>
                    </a:lnTo>
                    <a:lnTo>
                      <a:pt x="2470" y="1178"/>
                    </a:lnTo>
                    <a:lnTo>
                      <a:pt x="2470" y="1179"/>
                    </a:lnTo>
                    <a:lnTo>
                      <a:pt x="2467" y="1175"/>
                    </a:lnTo>
                    <a:lnTo>
                      <a:pt x="2449" y="1153"/>
                    </a:lnTo>
                    <a:lnTo>
                      <a:pt x="2443" y="1139"/>
                    </a:lnTo>
                    <a:lnTo>
                      <a:pt x="2443" y="1139"/>
                    </a:lnTo>
                    <a:lnTo>
                      <a:pt x="2443" y="1141"/>
                    </a:lnTo>
                    <a:lnTo>
                      <a:pt x="2441" y="1143"/>
                    </a:lnTo>
                    <a:lnTo>
                      <a:pt x="2439" y="1141"/>
                    </a:lnTo>
                    <a:lnTo>
                      <a:pt x="2435" y="1137"/>
                    </a:lnTo>
                    <a:lnTo>
                      <a:pt x="2435" y="1135"/>
                    </a:lnTo>
                    <a:lnTo>
                      <a:pt x="2435" y="1131"/>
                    </a:lnTo>
                    <a:lnTo>
                      <a:pt x="2437" y="1133"/>
                    </a:lnTo>
                    <a:lnTo>
                      <a:pt x="2441" y="1135"/>
                    </a:lnTo>
                    <a:lnTo>
                      <a:pt x="2441" y="1137"/>
                    </a:lnTo>
                    <a:lnTo>
                      <a:pt x="2443" y="1139"/>
                    </a:lnTo>
                    <a:lnTo>
                      <a:pt x="2447" y="1139"/>
                    </a:lnTo>
                    <a:lnTo>
                      <a:pt x="2449" y="1139"/>
                    </a:lnTo>
                    <a:lnTo>
                      <a:pt x="2449" y="1141"/>
                    </a:lnTo>
                    <a:lnTo>
                      <a:pt x="2451" y="1149"/>
                    </a:lnTo>
                    <a:lnTo>
                      <a:pt x="2453" y="1149"/>
                    </a:lnTo>
                    <a:lnTo>
                      <a:pt x="2451" y="1141"/>
                    </a:lnTo>
                    <a:lnTo>
                      <a:pt x="2447" y="1135"/>
                    </a:lnTo>
                    <a:lnTo>
                      <a:pt x="2439" y="1123"/>
                    </a:lnTo>
                    <a:lnTo>
                      <a:pt x="2435" y="1117"/>
                    </a:lnTo>
                    <a:lnTo>
                      <a:pt x="2431" y="1109"/>
                    </a:lnTo>
                    <a:lnTo>
                      <a:pt x="2429" y="1101"/>
                    </a:lnTo>
                    <a:lnTo>
                      <a:pt x="2433" y="1097"/>
                    </a:lnTo>
                    <a:lnTo>
                      <a:pt x="2433" y="1097"/>
                    </a:lnTo>
                    <a:lnTo>
                      <a:pt x="2431" y="1093"/>
                    </a:lnTo>
                    <a:lnTo>
                      <a:pt x="2431" y="1091"/>
                    </a:lnTo>
                    <a:lnTo>
                      <a:pt x="2429" y="1087"/>
                    </a:lnTo>
                    <a:lnTo>
                      <a:pt x="2425" y="1087"/>
                    </a:lnTo>
                    <a:lnTo>
                      <a:pt x="2423" y="1087"/>
                    </a:lnTo>
                    <a:lnTo>
                      <a:pt x="2423" y="1087"/>
                    </a:lnTo>
                    <a:lnTo>
                      <a:pt x="2423" y="1087"/>
                    </a:lnTo>
                    <a:lnTo>
                      <a:pt x="2423" y="1085"/>
                    </a:lnTo>
                    <a:lnTo>
                      <a:pt x="2423" y="1083"/>
                    </a:lnTo>
                    <a:lnTo>
                      <a:pt x="2423" y="1083"/>
                    </a:lnTo>
                    <a:lnTo>
                      <a:pt x="2421" y="1083"/>
                    </a:lnTo>
                    <a:lnTo>
                      <a:pt x="2421" y="1083"/>
                    </a:lnTo>
                    <a:lnTo>
                      <a:pt x="2419" y="1081"/>
                    </a:lnTo>
                    <a:lnTo>
                      <a:pt x="2419" y="1081"/>
                    </a:lnTo>
                    <a:lnTo>
                      <a:pt x="2417" y="1079"/>
                    </a:lnTo>
                    <a:lnTo>
                      <a:pt x="2417" y="1083"/>
                    </a:lnTo>
                    <a:lnTo>
                      <a:pt x="2417" y="1085"/>
                    </a:lnTo>
                    <a:lnTo>
                      <a:pt x="2413" y="1087"/>
                    </a:lnTo>
                    <a:lnTo>
                      <a:pt x="2411" y="1085"/>
                    </a:lnTo>
                    <a:lnTo>
                      <a:pt x="2413" y="1083"/>
                    </a:lnTo>
                    <a:lnTo>
                      <a:pt x="2413" y="1081"/>
                    </a:lnTo>
                    <a:lnTo>
                      <a:pt x="2411" y="1079"/>
                    </a:lnTo>
                    <a:lnTo>
                      <a:pt x="2411" y="1075"/>
                    </a:lnTo>
                    <a:lnTo>
                      <a:pt x="2411" y="1075"/>
                    </a:lnTo>
                    <a:lnTo>
                      <a:pt x="2413" y="1073"/>
                    </a:lnTo>
                    <a:lnTo>
                      <a:pt x="2413" y="1073"/>
                    </a:lnTo>
                    <a:lnTo>
                      <a:pt x="2415" y="1073"/>
                    </a:lnTo>
                    <a:lnTo>
                      <a:pt x="2415" y="1071"/>
                    </a:lnTo>
                    <a:lnTo>
                      <a:pt x="2413" y="1069"/>
                    </a:lnTo>
                    <a:lnTo>
                      <a:pt x="2413" y="1067"/>
                    </a:lnTo>
                    <a:lnTo>
                      <a:pt x="2411" y="1067"/>
                    </a:lnTo>
                    <a:lnTo>
                      <a:pt x="2409" y="1065"/>
                    </a:lnTo>
                    <a:lnTo>
                      <a:pt x="2409" y="1063"/>
                    </a:lnTo>
                    <a:lnTo>
                      <a:pt x="2411" y="1061"/>
                    </a:lnTo>
                    <a:lnTo>
                      <a:pt x="2413" y="1059"/>
                    </a:lnTo>
                    <a:lnTo>
                      <a:pt x="2417" y="1053"/>
                    </a:lnTo>
                    <a:lnTo>
                      <a:pt x="2417" y="1051"/>
                    </a:lnTo>
                    <a:lnTo>
                      <a:pt x="2419" y="1053"/>
                    </a:lnTo>
                    <a:lnTo>
                      <a:pt x="2421" y="1055"/>
                    </a:lnTo>
                    <a:lnTo>
                      <a:pt x="2423" y="1057"/>
                    </a:lnTo>
                    <a:lnTo>
                      <a:pt x="2423" y="1057"/>
                    </a:lnTo>
                    <a:lnTo>
                      <a:pt x="2423" y="1059"/>
                    </a:lnTo>
                    <a:lnTo>
                      <a:pt x="2425" y="1063"/>
                    </a:lnTo>
                    <a:lnTo>
                      <a:pt x="2425" y="1063"/>
                    </a:lnTo>
                    <a:lnTo>
                      <a:pt x="2425" y="1063"/>
                    </a:lnTo>
                    <a:lnTo>
                      <a:pt x="2427" y="1065"/>
                    </a:lnTo>
                    <a:lnTo>
                      <a:pt x="2427" y="1065"/>
                    </a:lnTo>
                    <a:lnTo>
                      <a:pt x="2429" y="1067"/>
                    </a:lnTo>
                    <a:lnTo>
                      <a:pt x="2431" y="1069"/>
                    </a:lnTo>
                    <a:lnTo>
                      <a:pt x="2431" y="1071"/>
                    </a:lnTo>
                    <a:lnTo>
                      <a:pt x="2431" y="1073"/>
                    </a:lnTo>
                    <a:lnTo>
                      <a:pt x="2431" y="1075"/>
                    </a:lnTo>
                    <a:lnTo>
                      <a:pt x="2433" y="1079"/>
                    </a:lnTo>
                    <a:lnTo>
                      <a:pt x="2435" y="1079"/>
                    </a:lnTo>
                    <a:lnTo>
                      <a:pt x="2437" y="1075"/>
                    </a:lnTo>
                    <a:lnTo>
                      <a:pt x="2437" y="1069"/>
                    </a:lnTo>
                    <a:lnTo>
                      <a:pt x="2437" y="1061"/>
                    </a:lnTo>
                    <a:lnTo>
                      <a:pt x="2437" y="1057"/>
                    </a:lnTo>
                    <a:lnTo>
                      <a:pt x="2439" y="1055"/>
                    </a:lnTo>
                    <a:lnTo>
                      <a:pt x="2439" y="1055"/>
                    </a:lnTo>
                    <a:lnTo>
                      <a:pt x="2441" y="1055"/>
                    </a:lnTo>
                    <a:lnTo>
                      <a:pt x="2441" y="1059"/>
                    </a:lnTo>
                    <a:lnTo>
                      <a:pt x="2445" y="1057"/>
                    </a:lnTo>
                    <a:lnTo>
                      <a:pt x="2445" y="1053"/>
                    </a:lnTo>
                    <a:lnTo>
                      <a:pt x="2447" y="1049"/>
                    </a:lnTo>
                    <a:lnTo>
                      <a:pt x="2447" y="1031"/>
                    </a:lnTo>
                    <a:lnTo>
                      <a:pt x="2445" y="1023"/>
                    </a:lnTo>
                    <a:lnTo>
                      <a:pt x="2443" y="1017"/>
                    </a:lnTo>
                    <a:lnTo>
                      <a:pt x="2439" y="1013"/>
                    </a:lnTo>
                    <a:lnTo>
                      <a:pt x="2425" y="1007"/>
                    </a:lnTo>
                    <a:lnTo>
                      <a:pt x="2421" y="1007"/>
                    </a:lnTo>
                    <a:lnTo>
                      <a:pt x="2419" y="1003"/>
                    </a:lnTo>
                    <a:lnTo>
                      <a:pt x="2417" y="1001"/>
                    </a:lnTo>
                    <a:lnTo>
                      <a:pt x="2413" y="987"/>
                    </a:lnTo>
                    <a:lnTo>
                      <a:pt x="2413" y="985"/>
                    </a:lnTo>
                    <a:lnTo>
                      <a:pt x="2413" y="975"/>
                    </a:lnTo>
                    <a:lnTo>
                      <a:pt x="2413" y="973"/>
                    </a:lnTo>
                    <a:lnTo>
                      <a:pt x="2411" y="971"/>
                    </a:lnTo>
                    <a:lnTo>
                      <a:pt x="2411" y="971"/>
                    </a:lnTo>
                    <a:lnTo>
                      <a:pt x="2411" y="969"/>
                    </a:lnTo>
                    <a:lnTo>
                      <a:pt x="2411" y="967"/>
                    </a:lnTo>
                    <a:lnTo>
                      <a:pt x="2411" y="963"/>
                    </a:lnTo>
                    <a:lnTo>
                      <a:pt x="2411" y="961"/>
                    </a:lnTo>
                    <a:lnTo>
                      <a:pt x="2413" y="959"/>
                    </a:lnTo>
                    <a:lnTo>
                      <a:pt x="2413" y="957"/>
                    </a:lnTo>
                    <a:lnTo>
                      <a:pt x="2415" y="963"/>
                    </a:lnTo>
                    <a:lnTo>
                      <a:pt x="2417" y="965"/>
                    </a:lnTo>
                    <a:lnTo>
                      <a:pt x="2419" y="967"/>
                    </a:lnTo>
                    <a:lnTo>
                      <a:pt x="2427" y="967"/>
                    </a:lnTo>
                    <a:lnTo>
                      <a:pt x="2431" y="969"/>
                    </a:lnTo>
                    <a:lnTo>
                      <a:pt x="2439" y="975"/>
                    </a:lnTo>
                    <a:lnTo>
                      <a:pt x="2437" y="971"/>
                    </a:lnTo>
                    <a:lnTo>
                      <a:pt x="2435" y="969"/>
                    </a:lnTo>
                    <a:lnTo>
                      <a:pt x="2423" y="961"/>
                    </a:lnTo>
                    <a:lnTo>
                      <a:pt x="2421" y="955"/>
                    </a:lnTo>
                    <a:lnTo>
                      <a:pt x="2413" y="945"/>
                    </a:lnTo>
                    <a:lnTo>
                      <a:pt x="2409" y="941"/>
                    </a:lnTo>
                    <a:lnTo>
                      <a:pt x="2403" y="937"/>
                    </a:lnTo>
                    <a:lnTo>
                      <a:pt x="2399" y="937"/>
                    </a:lnTo>
                    <a:lnTo>
                      <a:pt x="2397" y="937"/>
                    </a:lnTo>
                    <a:lnTo>
                      <a:pt x="2393" y="937"/>
                    </a:lnTo>
                    <a:lnTo>
                      <a:pt x="2387" y="933"/>
                    </a:lnTo>
                    <a:lnTo>
                      <a:pt x="2377" y="929"/>
                    </a:lnTo>
                    <a:lnTo>
                      <a:pt x="2375" y="927"/>
                    </a:lnTo>
                    <a:lnTo>
                      <a:pt x="2373" y="925"/>
                    </a:lnTo>
                    <a:lnTo>
                      <a:pt x="2371" y="923"/>
                    </a:lnTo>
                    <a:lnTo>
                      <a:pt x="2367" y="921"/>
                    </a:lnTo>
                    <a:lnTo>
                      <a:pt x="2367" y="921"/>
                    </a:lnTo>
                    <a:lnTo>
                      <a:pt x="2361" y="915"/>
                    </a:lnTo>
                    <a:lnTo>
                      <a:pt x="2353" y="901"/>
                    </a:lnTo>
                    <a:lnTo>
                      <a:pt x="2349" y="897"/>
                    </a:lnTo>
                    <a:lnTo>
                      <a:pt x="2347" y="897"/>
                    </a:lnTo>
                    <a:lnTo>
                      <a:pt x="2345" y="895"/>
                    </a:lnTo>
                    <a:lnTo>
                      <a:pt x="2345" y="893"/>
                    </a:lnTo>
                    <a:lnTo>
                      <a:pt x="2345" y="889"/>
                    </a:lnTo>
                    <a:lnTo>
                      <a:pt x="2345" y="887"/>
                    </a:lnTo>
                    <a:lnTo>
                      <a:pt x="2345" y="883"/>
                    </a:lnTo>
                    <a:lnTo>
                      <a:pt x="2347" y="879"/>
                    </a:lnTo>
                    <a:lnTo>
                      <a:pt x="2343" y="883"/>
                    </a:lnTo>
                    <a:lnTo>
                      <a:pt x="2343" y="883"/>
                    </a:lnTo>
                    <a:lnTo>
                      <a:pt x="2341" y="883"/>
                    </a:lnTo>
                    <a:lnTo>
                      <a:pt x="2339" y="881"/>
                    </a:lnTo>
                    <a:lnTo>
                      <a:pt x="2337" y="881"/>
                    </a:lnTo>
                    <a:lnTo>
                      <a:pt x="2335" y="881"/>
                    </a:lnTo>
                    <a:lnTo>
                      <a:pt x="2333" y="883"/>
                    </a:lnTo>
                    <a:lnTo>
                      <a:pt x="2335" y="885"/>
                    </a:lnTo>
                    <a:lnTo>
                      <a:pt x="2339" y="891"/>
                    </a:lnTo>
                    <a:lnTo>
                      <a:pt x="2337" y="891"/>
                    </a:lnTo>
                    <a:lnTo>
                      <a:pt x="2333" y="889"/>
                    </a:lnTo>
                    <a:lnTo>
                      <a:pt x="2329" y="887"/>
                    </a:lnTo>
                    <a:lnTo>
                      <a:pt x="2325" y="889"/>
                    </a:lnTo>
                    <a:lnTo>
                      <a:pt x="2325" y="889"/>
                    </a:lnTo>
                    <a:lnTo>
                      <a:pt x="2327" y="885"/>
                    </a:lnTo>
                    <a:lnTo>
                      <a:pt x="2325" y="885"/>
                    </a:lnTo>
                    <a:lnTo>
                      <a:pt x="2325" y="885"/>
                    </a:lnTo>
                    <a:lnTo>
                      <a:pt x="2325" y="885"/>
                    </a:lnTo>
                    <a:lnTo>
                      <a:pt x="2325" y="885"/>
                    </a:lnTo>
                    <a:lnTo>
                      <a:pt x="2323" y="887"/>
                    </a:lnTo>
                    <a:lnTo>
                      <a:pt x="2323" y="889"/>
                    </a:lnTo>
                    <a:lnTo>
                      <a:pt x="2321" y="891"/>
                    </a:lnTo>
                    <a:lnTo>
                      <a:pt x="2319" y="889"/>
                    </a:lnTo>
                    <a:lnTo>
                      <a:pt x="2315" y="887"/>
                    </a:lnTo>
                    <a:lnTo>
                      <a:pt x="2315" y="885"/>
                    </a:lnTo>
                    <a:lnTo>
                      <a:pt x="2317" y="885"/>
                    </a:lnTo>
                    <a:lnTo>
                      <a:pt x="2317" y="885"/>
                    </a:lnTo>
                    <a:lnTo>
                      <a:pt x="2319" y="885"/>
                    </a:lnTo>
                    <a:lnTo>
                      <a:pt x="2319" y="883"/>
                    </a:lnTo>
                    <a:lnTo>
                      <a:pt x="2321" y="881"/>
                    </a:lnTo>
                    <a:lnTo>
                      <a:pt x="2321" y="879"/>
                    </a:lnTo>
                    <a:lnTo>
                      <a:pt x="2321" y="877"/>
                    </a:lnTo>
                    <a:lnTo>
                      <a:pt x="2321" y="875"/>
                    </a:lnTo>
                    <a:lnTo>
                      <a:pt x="2319" y="877"/>
                    </a:lnTo>
                    <a:lnTo>
                      <a:pt x="2317" y="875"/>
                    </a:lnTo>
                    <a:lnTo>
                      <a:pt x="2315" y="875"/>
                    </a:lnTo>
                    <a:lnTo>
                      <a:pt x="2313" y="877"/>
                    </a:lnTo>
                    <a:lnTo>
                      <a:pt x="2315" y="879"/>
                    </a:lnTo>
                    <a:lnTo>
                      <a:pt x="2313" y="881"/>
                    </a:lnTo>
                    <a:lnTo>
                      <a:pt x="2311" y="881"/>
                    </a:lnTo>
                    <a:lnTo>
                      <a:pt x="2309" y="881"/>
                    </a:lnTo>
                    <a:lnTo>
                      <a:pt x="2311" y="877"/>
                    </a:lnTo>
                    <a:lnTo>
                      <a:pt x="2307" y="877"/>
                    </a:lnTo>
                    <a:lnTo>
                      <a:pt x="2307" y="875"/>
                    </a:lnTo>
                    <a:lnTo>
                      <a:pt x="2307" y="867"/>
                    </a:lnTo>
                    <a:lnTo>
                      <a:pt x="2307" y="863"/>
                    </a:lnTo>
                    <a:lnTo>
                      <a:pt x="2305" y="861"/>
                    </a:lnTo>
                    <a:lnTo>
                      <a:pt x="2305" y="857"/>
                    </a:lnTo>
                    <a:lnTo>
                      <a:pt x="2305" y="853"/>
                    </a:lnTo>
                    <a:lnTo>
                      <a:pt x="2303" y="851"/>
                    </a:lnTo>
                    <a:lnTo>
                      <a:pt x="2301" y="851"/>
                    </a:lnTo>
                    <a:lnTo>
                      <a:pt x="2299" y="851"/>
                    </a:lnTo>
                    <a:lnTo>
                      <a:pt x="2297" y="853"/>
                    </a:lnTo>
                    <a:lnTo>
                      <a:pt x="2295" y="855"/>
                    </a:lnTo>
                    <a:lnTo>
                      <a:pt x="2293" y="855"/>
                    </a:lnTo>
                    <a:lnTo>
                      <a:pt x="2293" y="855"/>
                    </a:lnTo>
                    <a:lnTo>
                      <a:pt x="2293" y="853"/>
                    </a:lnTo>
                    <a:lnTo>
                      <a:pt x="2293" y="849"/>
                    </a:lnTo>
                    <a:lnTo>
                      <a:pt x="2293" y="847"/>
                    </a:lnTo>
                    <a:lnTo>
                      <a:pt x="2295" y="845"/>
                    </a:lnTo>
                    <a:lnTo>
                      <a:pt x="2295" y="845"/>
                    </a:lnTo>
                    <a:lnTo>
                      <a:pt x="2297" y="843"/>
                    </a:lnTo>
                    <a:lnTo>
                      <a:pt x="2299" y="841"/>
                    </a:lnTo>
                    <a:lnTo>
                      <a:pt x="2297" y="841"/>
                    </a:lnTo>
                    <a:lnTo>
                      <a:pt x="2295" y="839"/>
                    </a:lnTo>
                    <a:lnTo>
                      <a:pt x="2295" y="839"/>
                    </a:lnTo>
                    <a:lnTo>
                      <a:pt x="2295" y="839"/>
                    </a:lnTo>
                    <a:lnTo>
                      <a:pt x="2293" y="841"/>
                    </a:lnTo>
                    <a:lnTo>
                      <a:pt x="2293" y="841"/>
                    </a:lnTo>
                    <a:lnTo>
                      <a:pt x="2293" y="841"/>
                    </a:lnTo>
                    <a:lnTo>
                      <a:pt x="2291" y="845"/>
                    </a:lnTo>
                    <a:lnTo>
                      <a:pt x="2289" y="845"/>
                    </a:lnTo>
                    <a:lnTo>
                      <a:pt x="2289" y="843"/>
                    </a:lnTo>
                    <a:lnTo>
                      <a:pt x="2287" y="843"/>
                    </a:lnTo>
                    <a:lnTo>
                      <a:pt x="2285" y="841"/>
                    </a:lnTo>
                    <a:lnTo>
                      <a:pt x="2285" y="841"/>
                    </a:lnTo>
                    <a:lnTo>
                      <a:pt x="2283" y="841"/>
                    </a:lnTo>
                    <a:lnTo>
                      <a:pt x="2283" y="839"/>
                    </a:lnTo>
                    <a:lnTo>
                      <a:pt x="2281" y="839"/>
                    </a:lnTo>
                    <a:lnTo>
                      <a:pt x="2277" y="837"/>
                    </a:lnTo>
                    <a:lnTo>
                      <a:pt x="2275" y="837"/>
                    </a:lnTo>
                    <a:lnTo>
                      <a:pt x="2281" y="833"/>
                    </a:lnTo>
                    <a:lnTo>
                      <a:pt x="2285" y="833"/>
                    </a:lnTo>
                    <a:lnTo>
                      <a:pt x="2285" y="837"/>
                    </a:lnTo>
                    <a:lnTo>
                      <a:pt x="2287" y="837"/>
                    </a:lnTo>
                    <a:lnTo>
                      <a:pt x="2289" y="833"/>
                    </a:lnTo>
                    <a:lnTo>
                      <a:pt x="2299" y="835"/>
                    </a:lnTo>
                    <a:lnTo>
                      <a:pt x="2301" y="831"/>
                    </a:lnTo>
                    <a:lnTo>
                      <a:pt x="2303" y="831"/>
                    </a:lnTo>
                    <a:lnTo>
                      <a:pt x="2303" y="833"/>
                    </a:lnTo>
                    <a:lnTo>
                      <a:pt x="2303" y="835"/>
                    </a:lnTo>
                    <a:lnTo>
                      <a:pt x="2303" y="835"/>
                    </a:lnTo>
                    <a:lnTo>
                      <a:pt x="2305" y="835"/>
                    </a:lnTo>
                    <a:lnTo>
                      <a:pt x="2305" y="833"/>
                    </a:lnTo>
                    <a:lnTo>
                      <a:pt x="2305" y="831"/>
                    </a:lnTo>
                    <a:lnTo>
                      <a:pt x="2305" y="829"/>
                    </a:lnTo>
                    <a:lnTo>
                      <a:pt x="2303" y="829"/>
                    </a:lnTo>
                    <a:lnTo>
                      <a:pt x="2303" y="827"/>
                    </a:lnTo>
                    <a:lnTo>
                      <a:pt x="2301" y="827"/>
                    </a:lnTo>
                    <a:lnTo>
                      <a:pt x="2301" y="825"/>
                    </a:lnTo>
                    <a:lnTo>
                      <a:pt x="2297" y="821"/>
                    </a:lnTo>
                    <a:lnTo>
                      <a:pt x="2295" y="819"/>
                    </a:lnTo>
                    <a:lnTo>
                      <a:pt x="2291" y="817"/>
                    </a:lnTo>
                    <a:lnTo>
                      <a:pt x="2289" y="817"/>
                    </a:lnTo>
                    <a:lnTo>
                      <a:pt x="2287" y="817"/>
                    </a:lnTo>
                    <a:lnTo>
                      <a:pt x="2285" y="817"/>
                    </a:lnTo>
                    <a:lnTo>
                      <a:pt x="2283" y="817"/>
                    </a:lnTo>
                    <a:lnTo>
                      <a:pt x="2281" y="819"/>
                    </a:lnTo>
                    <a:lnTo>
                      <a:pt x="2279" y="819"/>
                    </a:lnTo>
                    <a:lnTo>
                      <a:pt x="2273" y="819"/>
                    </a:lnTo>
                    <a:lnTo>
                      <a:pt x="2271" y="817"/>
                    </a:lnTo>
                    <a:lnTo>
                      <a:pt x="2269" y="817"/>
                    </a:lnTo>
                    <a:lnTo>
                      <a:pt x="2269" y="819"/>
                    </a:lnTo>
                    <a:lnTo>
                      <a:pt x="2269" y="819"/>
                    </a:lnTo>
                    <a:lnTo>
                      <a:pt x="2267" y="819"/>
                    </a:lnTo>
                    <a:lnTo>
                      <a:pt x="2265" y="819"/>
                    </a:lnTo>
                    <a:lnTo>
                      <a:pt x="2267" y="817"/>
                    </a:lnTo>
                    <a:lnTo>
                      <a:pt x="2265" y="815"/>
                    </a:lnTo>
                    <a:lnTo>
                      <a:pt x="2261" y="811"/>
                    </a:lnTo>
                    <a:lnTo>
                      <a:pt x="2255" y="807"/>
                    </a:lnTo>
                    <a:lnTo>
                      <a:pt x="2253" y="805"/>
                    </a:lnTo>
                    <a:lnTo>
                      <a:pt x="2249" y="805"/>
                    </a:lnTo>
                    <a:lnTo>
                      <a:pt x="2245" y="807"/>
                    </a:lnTo>
                    <a:lnTo>
                      <a:pt x="2245" y="807"/>
                    </a:lnTo>
                    <a:lnTo>
                      <a:pt x="2243" y="809"/>
                    </a:lnTo>
                    <a:lnTo>
                      <a:pt x="2243" y="811"/>
                    </a:lnTo>
                    <a:lnTo>
                      <a:pt x="2245" y="811"/>
                    </a:lnTo>
                    <a:lnTo>
                      <a:pt x="2245" y="813"/>
                    </a:lnTo>
                    <a:lnTo>
                      <a:pt x="2245" y="813"/>
                    </a:lnTo>
                    <a:lnTo>
                      <a:pt x="2241" y="813"/>
                    </a:lnTo>
                    <a:lnTo>
                      <a:pt x="2241" y="811"/>
                    </a:lnTo>
                    <a:lnTo>
                      <a:pt x="2241" y="807"/>
                    </a:lnTo>
                    <a:lnTo>
                      <a:pt x="2243" y="805"/>
                    </a:lnTo>
                    <a:lnTo>
                      <a:pt x="2241" y="803"/>
                    </a:lnTo>
                    <a:lnTo>
                      <a:pt x="2241" y="803"/>
                    </a:lnTo>
                    <a:lnTo>
                      <a:pt x="2239" y="807"/>
                    </a:lnTo>
                    <a:lnTo>
                      <a:pt x="2237" y="807"/>
                    </a:lnTo>
                    <a:lnTo>
                      <a:pt x="2235" y="809"/>
                    </a:lnTo>
                    <a:lnTo>
                      <a:pt x="2231" y="807"/>
                    </a:lnTo>
                    <a:lnTo>
                      <a:pt x="2233" y="805"/>
                    </a:lnTo>
                    <a:lnTo>
                      <a:pt x="2233" y="805"/>
                    </a:lnTo>
                    <a:lnTo>
                      <a:pt x="2237" y="807"/>
                    </a:lnTo>
                    <a:lnTo>
                      <a:pt x="2237" y="805"/>
                    </a:lnTo>
                    <a:lnTo>
                      <a:pt x="2235" y="801"/>
                    </a:lnTo>
                    <a:lnTo>
                      <a:pt x="2237" y="801"/>
                    </a:lnTo>
                    <a:lnTo>
                      <a:pt x="2239" y="801"/>
                    </a:lnTo>
                    <a:lnTo>
                      <a:pt x="2239" y="801"/>
                    </a:lnTo>
                    <a:lnTo>
                      <a:pt x="2237" y="799"/>
                    </a:lnTo>
                    <a:lnTo>
                      <a:pt x="2239" y="797"/>
                    </a:lnTo>
                    <a:lnTo>
                      <a:pt x="2239" y="797"/>
                    </a:lnTo>
                    <a:lnTo>
                      <a:pt x="2239" y="793"/>
                    </a:lnTo>
                    <a:lnTo>
                      <a:pt x="2237" y="795"/>
                    </a:lnTo>
                    <a:lnTo>
                      <a:pt x="2237" y="797"/>
                    </a:lnTo>
                    <a:lnTo>
                      <a:pt x="2235" y="797"/>
                    </a:lnTo>
                    <a:lnTo>
                      <a:pt x="2233" y="797"/>
                    </a:lnTo>
                    <a:lnTo>
                      <a:pt x="2233" y="795"/>
                    </a:lnTo>
                    <a:lnTo>
                      <a:pt x="2233" y="791"/>
                    </a:lnTo>
                    <a:lnTo>
                      <a:pt x="2233" y="789"/>
                    </a:lnTo>
                    <a:lnTo>
                      <a:pt x="2231" y="791"/>
                    </a:lnTo>
                    <a:lnTo>
                      <a:pt x="2231" y="793"/>
                    </a:lnTo>
                    <a:lnTo>
                      <a:pt x="2229" y="793"/>
                    </a:lnTo>
                    <a:lnTo>
                      <a:pt x="2227" y="791"/>
                    </a:lnTo>
                    <a:lnTo>
                      <a:pt x="2227" y="783"/>
                    </a:lnTo>
                    <a:lnTo>
                      <a:pt x="2227" y="785"/>
                    </a:lnTo>
                    <a:lnTo>
                      <a:pt x="2225" y="787"/>
                    </a:lnTo>
                    <a:lnTo>
                      <a:pt x="2225" y="789"/>
                    </a:lnTo>
                    <a:lnTo>
                      <a:pt x="2223" y="789"/>
                    </a:lnTo>
                    <a:lnTo>
                      <a:pt x="2223" y="787"/>
                    </a:lnTo>
                    <a:lnTo>
                      <a:pt x="2223" y="787"/>
                    </a:lnTo>
                    <a:lnTo>
                      <a:pt x="2223" y="787"/>
                    </a:lnTo>
                    <a:lnTo>
                      <a:pt x="2223" y="783"/>
                    </a:lnTo>
                    <a:lnTo>
                      <a:pt x="2227" y="771"/>
                    </a:lnTo>
                    <a:lnTo>
                      <a:pt x="2229" y="769"/>
                    </a:lnTo>
                    <a:lnTo>
                      <a:pt x="2229" y="769"/>
                    </a:lnTo>
                    <a:lnTo>
                      <a:pt x="2231" y="771"/>
                    </a:lnTo>
                    <a:lnTo>
                      <a:pt x="2229" y="775"/>
                    </a:lnTo>
                    <a:lnTo>
                      <a:pt x="2227" y="781"/>
                    </a:lnTo>
                    <a:lnTo>
                      <a:pt x="2229" y="779"/>
                    </a:lnTo>
                    <a:lnTo>
                      <a:pt x="2233" y="773"/>
                    </a:lnTo>
                    <a:lnTo>
                      <a:pt x="2235" y="771"/>
                    </a:lnTo>
                    <a:lnTo>
                      <a:pt x="2235" y="773"/>
                    </a:lnTo>
                    <a:lnTo>
                      <a:pt x="2235" y="775"/>
                    </a:lnTo>
                    <a:lnTo>
                      <a:pt x="2233" y="777"/>
                    </a:lnTo>
                    <a:lnTo>
                      <a:pt x="2233" y="779"/>
                    </a:lnTo>
                    <a:lnTo>
                      <a:pt x="2233" y="783"/>
                    </a:lnTo>
                    <a:lnTo>
                      <a:pt x="2233" y="785"/>
                    </a:lnTo>
                    <a:lnTo>
                      <a:pt x="2233" y="787"/>
                    </a:lnTo>
                    <a:lnTo>
                      <a:pt x="2235" y="785"/>
                    </a:lnTo>
                    <a:lnTo>
                      <a:pt x="2237" y="781"/>
                    </a:lnTo>
                    <a:lnTo>
                      <a:pt x="2237" y="779"/>
                    </a:lnTo>
                    <a:lnTo>
                      <a:pt x="2239" y="777"/>
                    </a:lnTo>
                    <a:lnTo>
                      <a:pt x="2237" y="777"/>
                    </a:lnTo>
                    <a:lnTo>
                      <a:pt x="2237" y="775"/>
                    </a:lnTo>
                    <a:lnTo>
                      <a:pt x="2237" y="773"/>
                    </a:lnTo>
                    <a:lnTo>
                      <a:pt x="2239" y="769"/>
                    </a:lnTo>
                    <a:lnTo>
                      <a:pt x="2239" y="767"/>
                    </a:lnTo>
                    <a:lnTo>
                      <a:pt x="2233" y="761"/>
                    </a:lnTo>
                    <a:lnTo>
                      <a:pt x="2229" y="757"/>
                    </a:lnTo>
                    <a:lnTo>
                      <a:pt x="2229" y="755"/>
                    </a:lnTo>
                    <a:lnTo>
                      <a:pt x="2225" y="755"/>
                    </a:lnTo>
                    <a:lnTo>
                      <a:pt x="2223" y="751"/>
                    </a:lnTo>
                    <a:lnTo>
                      <a:pt x="2219" y="749"/>
                    </a:lnTo>
                    <a:lnTo>
                      <a:pt x="2217" y="745"/>
                    </a:lnTo>
                    <a:lnTo>
                      <a:pt x="2217" y="743"/>
                    </a:lnTo>
                    <a:lnTo>
                      <a:pt x="2217" y="743"/>
                    </a:lnTo>
                    <a:lnTo>
                      <a:pt x="2221" y="741"/>
                    </a:lnTo>
                    <a:lnTo>
                      <a:pt x="2221" y="741"/>
                    </a:lnTo>
                    <a:lnTo>
                      <a:pt x="2223" y="741"/>
                    </a:lnTo>
                    <a:lnTo>
                      <a:pt x="2223" y="741"/>
                    </a:lnTo>
                    <a:lnTo>
                      <a:pt x="2225" y="739"/>
                    </a:lnTo>
                    <a:lnTo>
                      <a:pt x="2225" y="739"/>
                    </a:lnTo>
                    <a:lnTo>
                      <a:pt x="2225" y="737"/>
                    </a:lnTo>
                    <a:lnTo>
                      <a:pt x="2225" y="737"/>
                    </a:lnTo>
                    <a:lnTo>
                      <a:pt x="2223" y="737"/>
                    </a:lnTo>
                    <a:lnTo>
                      <a:pt x="2219" y="735"/>
                    </a:lnTo>
                    <a:lnTo>
                      <a:pt x="2217" y="735"/>
                    </a:lnTo>
                    <a:lnTo>
                      <a:pt x="2213" y="735"/>
                    </a:lnTo>
                    <a:lnTo>
                      <a:pt x="2211" y="735"/>
                    </a:lnTo>
                    <a:lnTo>
                      <a:pt x="2205" y="733"/>
                    </a:lnTo>
                    <a:lnTo>
                      <a:pt x="2203" y="731"/>
                    </a:lnTo>
                    <a:lnTo>
                      <a:pt x="2203" y="731"/>
                    </a:lnTo>
                    <a:lnTo>
                      <a:pt x="2203" y="729"/>
                    </a:lnTo>
                    <a:lnTo>
                      <a:pt x="2203" y="727"/>
                    </a:lnTo>
                    <a:lnTo>
                      <a:pt x="2197" y="719"/>
                    </a:lnTo>
                    <a:lnTo>
                      <a:pt x="2197" y="717"/>
                    </a:lnTo>
                    <a:lnTo>
                      <a:pt x="2195" y="713"/>
                    </a:lnTo>
                    <a:lnTo>
                      <a:pt x="2195" y="709"/>
                    </a:lnTo>
                    <a:lnTo>
                      <a:pt x="2197" y="707"/>
                    </a:lnTo>
                    <a:lnTo>
                      <a:pt x="2199" y="703"/>
                    </a:lnTo>
                    <a:lnTo>
                      <a:pt x="2197" y="701"/>
                    </a:lnTo>
                    <a:lnTo>
                      <a:pt x="2185" y="687"/>
                    </a:lnTo>
                    <a:lnTo>
                      <a:pt x="2183" y="683"/>
                    </a:lnTo>
                    <a:lnTo>
                      <a:pt x="2183" y="679"/>
                    </a:lnTo>
                    <a:lnTo>
                      <a:pt x="2183" y="677"/>
                    </a:lnTo>
                    <a:lnTo>
                      <a:pt x="2183" y="673"/>
                    </a:lnTo>
                    <a:lnTo>
                      <a:pt x="2185" y="669"/>
                    </a:lnTo>
                    <a:lnTo>
                      <a:pt x="2185" y="667"/>
                    </a:lnTo>
                    <a:lnTo>
                      <a:pt x="2183" y="667"/>
                    </a:lnTo>
                    <a:lnTo>
                      <a:pt x="2183" y="669"/>
                    </a:lnTo>
                    <a:lnTo>
                      <a:pt x="2181" y="671"/>
                    </a:lnTo>
                    <a:lnTo>
                      <a:pt x="2177" y="671"/>
                    </a:lnTo>
                    <a:lnTo>
                      <a:pt x="2175" y="671"/>
                    </a:lnTo>
                    <a:lnTo>
                      <a:pt x="2175" y="671"/>
                    </a:lnTo>
                    <a:lnTo>
                      <a:pt x="2175" y="669"/>
                    </a:lnTo>
                    <a:lnTo>
                      <a:pt x="2175" y="669"/>
                    </a:lnTo>
                    <a:lnTo>
                      <a:pt x="2179" y="669"/>
                    </a:lnTo>
                    <a:lnTo>
                      <a:pt x="2181" y="665"/>
                    </a:lnTo>
                    <a:lnTo>
                      <a:pt x="2181" y="661"/>
                    </a:lnTo>
                    <a:lnTo>
                      <a:pt x="2179" y="653"/>
                    </a:lnTo>
                    <a:lnTo>
                      <a:pt x="2179" y="651"/>
                    </a:lnTo>
                    <a:lnTo>
                      <a:pt x="2175" y="649"/>
                    </a:lnTo>
                    <a:lnTo>
                      <a:pt x="2173" y="647"/>
                    </a:lnTo>
                    <a:lnTo>
                      <a:pt x="2169" y="643"/>
                    </a:lnTo>
                    <a:lnTo>
                      <a:pt x="2141" y="645"/>
                    </a:lnTo>
                    <a:lnTo>
                      <a:pt x="2113" y="645"/>
                    </a:lnTo>
                    <a:lnTo>
                      <a:pt x="2087" y="645"/>
                    </a:lnTo>
                    <a:lnTo>
                      <a:pt x="2059" y="645"/>
                    </a:lnTo>
                    <a:lnTo>
                      <a:pt x="2051" y="645"/>
                    </a:lnTo>
                    <a:lnTo>
                      <a:pt x="2049" y="641"/>
                    </a:lnTo>
                    <a:lnTo>
                      <a:pt x="2045" y="637"/>
                    </a:lnTo>
                    <a:lnTo>
                      <a:pt x="2043" y="635"/>
                    </a:lnTo>
                    <a:lnTo>
                      <a:pt x="2039" y="631"/>
                    </a:lnTo>
                    <a:lnTo>
                      <a:pt x="2037" y="627"/>
                    </a:lnTo>
                    <a:lnTo>
                      <a:pt x="2035" y="623"/>
                    </a:lnTo>
                    <a:lnTo>
                      <a:pt x="2033" y="617"/>
                    </a:lnTo>
                    <a:lnTo>
                      <a:pt x="2033" y="607"/>
                    </a:lnTo>
                    <a:lnTo>
                      <a:pt x="2031" y="603"/>
                    </a:lnTo>
                    <a:lnTo>
                      <a:pt x="2023" y="579"/>
                    </a:lnTo>
                    <a:lnTo>
                      <a:pt x="2013" y="563"/>
                    </a:lnTo>
                    <a:lnTo>
                      <a:pt x="2013" y="563"/>
                    </a:lnTo>
                    <a:lnTo>
                      <a:pt x="2005" y="563"/>
                    </a:lnTo>
                    <a:lnTo>
                      <a:pt x="1989" y="561"/>
                    </a:lnTo>
                    <a:lnTo>
                      <a:pt x="1973" y="559"/>
                    </a:lnTo>
                    <a:lnTo>
                      <a:pt x="1959" y="557"/>
                    </a:lnTo>
                    <a:lnTo>
                      <a:pt x="1943" y="555"/>
                    </a:lnTo>
                    <a:lnTo>
                      <a:pt x="1925" y="553"/>
                    </a:lnTo>
                    <a:lnTo>
                      <a:pt x="1909" y="551"/>
                    </a:lnTo>
                    <a:lnTo>
                      <a:pt x="1891" y="549"/>
                    </a:lnTo>
                    <a:lnTo>
                      <a:pt x="1873" y="545"/>
                    </a:lnTo>
                    <a:lnTo>
                      <a:pt x="1867" y="547"/>
                    </a:lnTo>
                    <a:lnTo>
                      <a:pt x="1859" y="549"/>
                    </a:lnTo>
                    <a:lnTo>
                      <a:pt x="1853" y="551"/>
                    </a:lnTo>
                    <a:lnTo>
                      <a:pt x="1847" y="551"/>
                    </a:lnTo>
                    <a:lnTo>
                      <a:pt x="1829" y="551"/>
                    </a:lnTo>
                    <a:lnTo>
                      <a:pt x="1819" y="549"/>
                    </a:lnTo>
                    <a:lnTo>
                      <a:pt x="1807" y="549"/>
                    </a:lnTo>
                    <a:lnTo>
                      <a:pt x="1795" y="547"/>
                    </a:lnTo>
                    <a:lnTo>
                      <a:pt x="1783" y="545"/>
                    </a:lnTo>
                    <a:lnTo>
                      <a:pt x="1767" y="545"/>
                    </a:lnTo>
                    <a:lnTo>
                      <a:pt x="1751" y="543"/>
                    </a:lnTo>
                    <a:lnTo>
                      <a:pt x="1735" y="541"/>
                    </a:lnTo>
                    <a:lnTo>
                      <a:pt x="1719" y="541"/>
                    </a:lnTo>
                    <a:lnTo>
                      <a:pt x="1703" y="539"/>
                    </a:lnTo>
                    <a:lnTo>
                      <a:pt x="1687" y="537"/>
                    </a:lnTo>
                    <a:lnTo>
                      <a:pt x="1671" y="535"/>
                    </a:lnTo>
                    <a:lnTo>
                      <a:pt x="1655" y="535"/>
                    </a:lnTo>
                    <a:lnTo>
                      <a:pt x="1643" y="533"/>
                    </a:lnTo>
                    <a:lnTo>
                      <a:pt x="1631" y="533"/>
                    </a:lnTo>
                    <a:lnTo>
                      <a:pt x="1617" y="531"/>
                    </a:lnTo>
                    <a:lnTo>
                      <a:pt x="1605" y="529"/>
                    </a:lnTo>
                    <a:lnTo>
                      <a:pt x="1591" y="529"/>
                    </a:lnTo>
                    <a:lnTo>
                      <a:pt x="1591" y="529"/>
                    </a:lnTo>
                    <a:lnTo>
                      <a:pt x="1589" y="527"/>
                    </a:lnTo>
                    <a:lnTo>
                      <a:pt x="1589" y="527"/>
                    </a:lnTo>
                    <a:lnTo>
                      <a:pt x="1587" y="527"/>
                    </a:lnTo>
                    <a:lnTo>
                      <a:pt x="1575" y="517"/>
                    </a:lnTo>
                    <a:lnTo>
                      <a:pt x="1561" y="505"/>
                    </a:lnTo>
                    <a:lnTo>
                      <a:pt x="1545" y="493"/>
                    </a:lnTo>
                    <a:lnTo>
                      <a:pt x="1531" y="481"/>
                    </a:lnTo>
                    <a:lnTo>
                      <a:pt x="1516" y="469"/>
                    </a:lnTo>
                    <a:lnTo>
                      <a:pt x="1498" y="455"/>
                    </a:lnTo>
                    <a:lnTo>
                      <a:pt x="1480" y="441"/>
                    </a:lnTo>
                    <a:lnTo>
                      <a:pt x="1462" y="427"/>
                    </a:lnTo>
                    <a:lnTo>
                      <a:pt x="1444" y="413"/>
                    </a:lnTo>
                    <a:lnTo>
                      <a:pt x="1426" y="397"/>
                    </a:lnTo>
                    <a:lnTo>
                      <a:pt x="1408" y="383"/>
                    </a:lnTo>
                    <a:lnTo>
                      <a:pt x="1390" y="369"/>
                    </a:lnTo>
                    <a:lnTo>
                      <a:pt x="1372" y="355"/>
                    </a:lnTo>
                    <a:lnTo>
                      <a:pt x="1358" y="343"/>
                    </a:lnTo>
                    <a:lnTo>
                      <a:pt x="1346" y="333"/>
                    </a:lnTo>
                    <a:lnTo>
                      <a:pt x="1332" y="321"/>
                    </a:lnTo>
                    <a:lnTo>
                      <a:pt x="1318" y="309"/>
                    </a:lnTo>
                    <a:lnTo>
                      <a:pt x="1302" y="297"/>
                    </a:lnTo>
                    <a:lnTo>
                      <a:pt x="1302" y="297"/>
                    </a:lnTo>
                    <a:lnTo>
                      <a:pt x="1286" y="283"/>
                    </a:lnTo>
                    <a:lnTo>
                      <a:pt x="1272" y="271"/>
                    </a:lnTo>
                    <a:lnTo>
                      <a:pt x="1258" y="259"/>
                    </a:lnTo>
                    <a:lnTo>
                      <a:pt x="1242" y="245"/>
                    </a:lnTo>
                    <a:lnTo>
                      <a:pt x="1230" y="235"/>
                    </a:lnTo>
                    <a:lnTo>
                      <a:pt x="1216" y="223"/>
                    </a:lnTo>
                    <a:lnTo>
                      <a:pt x="1202" y="211"/>
                    </a:lnTo>
                    <a:lnTo>
                      <a:pt x="1190" y="199"/>
                    </a:lnTo>
                    <a:lnTo>
                      <a:pt x="1180" y="191"/>
                    </a:lnTo>
                    <a:lnTo>
                      <a:pt x="1166" y="183"/>
                    </a:lnTo>
                    <a:lnTo>
                      <a:pt x="1152" y="175"/>
                    </a:lnTo>
                    <a:lnTo>
                      <a:pt x="1138" y="167"/>
                    </a:lnTo>
                    <a:lnTo>
                      <a:pt x="1124" y="159"/>
                    </a:lnTo>
                    <a:lnTo>
                      <a:pt x="1110" y="151"/>
                    </a:lnTo>
                    <a:lnTo>
                      <a:pt x="1098" y="143"/>
                    </a:lnTo>
                    <a:lnTo>
                      <a:pt x="1084" y="135"/>
                    </a:lnTo>
                    <a:lnTo>
                      <a:pt x="1070" y="127"/>
                    </a:lnTo>
                    <a:lnTo>
                      <a:pt x="1056" y="119"/>
                    </a:lnTo>
                    <a:lnTo>
                      <a:pt x="1042" y="111"/>
                    </a:lnTo>
                    <a:lnTo>
                      <a:pt x="1030" y="101"/>
                    </a:lnTo>
                    <a:lnTo>
                      <a:pt x="1002" y="84"/>
                    </a:lnTo>
                    <a:lnTo>
                      <a:pt x="988" y="76"/>
                    </a:lnTo>
                    <a:lnTo>
                      <a:pt x="974" y="69"/>
                    </a:lnTo>
                    <a:lnTo>
                      <a:pt x="960" y="60"/>
                    </a:lnTo>
                    <a:lnTo>
                      <a:pt x="948" y="52"/>
                    </a:lnTo>
                    <a:lnTo>
                      <a:pt x="932" y="42"/>
                    </a:lnTo>
                    <a:lnTo>
                      <a:pt x="922" y="39"/>
                    </a:lnTo>
                    <a:lnTo>
                      <a:pt x="914" y="34"/>
                    </a:lnTo>
                    <a:lnTo>
                      <a:pt x="862" y="24"/>
                    </a:lnTo>
                    <a:lnTo>
                      <a:pt x="862" y="24"/>
                    </a:lnTo>
                    <a:lnTo>
                      <a:pt x="848" y="22"/>
                    </a:lnTo>
                    <a:lnTo>
                      <a:pt x="819" y="16"/>
                    </a:lnTo>
                    <a:lnTo>
                      <a:pt x="789" y="12"/>
                    </a:lnTo>
                    <a:lnTo>
                      <a:pt x="757" y="6"/>
                    </a:lnTo>
                    <a:lnTo>
                      <a:pt x="727" y="0"/>
                    </a:lnTo>
                    <a:lnTo>
                      <a:pt x="725" y="3"/>
                    </a:lnTo>
                    <a:lnTo>
                      <a:pt x="723" y="3"/>
                    </a:lnTo>
                    <a:lnTo>
                      <a:pt x="721" y="4"/>
                    </a:lnTo>
                    <a:lnTo>
                      <a:pt x="701" y="22"/>
                    </a:lnTo>
                    <a:lnTo>
                      <a:pt x="697" y="24"/>
                    </a:lnTo>
                    <a:lnTo>
                      <a:pt x="679" y="30"/>
                    </a:lnTo>
                    <a:lnTo>
                      <a:pt x="643" y="40"/>
                    </a:lnTo>
                    <a:lnTo>
                      <a:pt x="609" y="51"/>
                    </a:lnTo>
                    <a:lnTo>
                      <a:pt x="573" y="60"/>
                    </a:lnTo>
                    <a:lnTo>
                      <a:pt x="539" y="70"/>
                    </a:lnTo>
                    <a:lnTo>
                      <a:pt x="501" y="82"/>
                    </a:lnTo>
                    <a:lnTo>
                      <a:pt x="461" y="93"/>
                    </a:lnTo>
                    <a:lnTo>
                      <a:pt x="423" y="105"/>
                    </a:lnTo>
                    <a:lnTo>
                      <a:pt x="385" y="117"/>
                    </a:lnTo>
                    <a:lnTo>
                      <a:pt x="405" y="139"/>
                    </a:lnTo>
                    <a:lnTo>
                      <a:pt x="425" y="161"/>
                    </a:lnTo>
                    <a:lnTo>
                      <a:pt x="445" y="183"/>
                    </a:lnTo>
                    <a:lnTo>
                      <a:pt x="465" y="205"/>
                    </a:lnTo>
                    <a:lnTo>
                      <a:pt x="467" y="205"/>
                    </a:lnTo>
                    <a:lnTo>
                      <a:pt x="467" y="205"/>
                    </a:lnTo>
                    <a:lnTo>
                      <a:pt x="467" y="205"/>
                    </a:lnTo>
                    <a:lnTo>
                      <a:pt x="467" y="207"/>
                    </a:lnTo>
                    <a:lnTo>
                      <a:pt x="485" y="227"/>
                    </a:lnTo>
                    <a:lnTo>
                      <a:pt x="501" y="247"/>
                    </a:lnTo>
                    <a:lnTo>
                      <a:pt x="519" y="267"/>
                    </a:lnTo>
                    <a:lnTo>
                      <a:pt x="537" y="287"/>
                    </a:lnTo>
                    <a:lnTo>
                      <a:pt x="543" y="295"/>
                    </a:lnTo>
                    <a:lnTo>
                      <a:pt x="543" y="295"/>
                    </a:lnTo>
                    <a:lnTo>
                      <a:pt x="543" y="295"/>
                    </a:lnTo>
                    <a:lnTo>
                      <a:pt x="543" y="295"/>
                    </a:lnTo>
                    <a:lnTo>
                      <a:pt x="543" y="297"/>
                    </a:lnTo>
                    <a:lnTo>
                      <a:pt x="531" y="303"/>
                    </a:lnTo>
                    <a:lnTo>
                      <a:pt x="513" y="313"/>
                    </a:lnTo>
                    <a:lnTo>
                      <a:pt x="495" y="323"/>
                    </a:lnTo>
                    <a:lnTo>
                      <a:pt x="491" y="325"/>
                    </a:lnTo>
                    <a:lnTo>
                      <a:pt x="489" y="329"/>
                    </a:lnTo>
                    <a:lnTo>
                      <a:pt x="485" y="341"/>
                    </a:lnTo>
                    <a:lnTo>
                      <a:pt x="479" y="353"/>
                    </a:lnTo>
                    <a:lnTo>
                      <a:pt x="475" y="367"/>
                    </a:lnTo>
                    <a:lnTo>
                      <a:pt x="467" y="383"/>
                    </a:lnTo>
                    <a:lnTo>
                      <a:pt x="465" y="387"/>
                    </a:lnTo>
                    <a:lnTo>
                      <a:pt x="445" y="389"/>
                    </a:lnTo>
                    <a:lnTo>
                      <a:pt x="425" y="395"/>
                    </a:lnTo>
                    <a:lnTo>
                      <a:pt x="403" y="399"/>
                    </a:lnTo>
                    <a:lnTo>
                      <a:pt x="381" y="403"/>
                    </a:lnTo>
                    <a:lnTo>
                      <a:pt x="367" y="407"/>
                    </a:lnTo>
                    <a:lnTo>
                      <a:pt x="353" y="409"/>
                    </a:lnTo>
                    <a:lnTo>
                      <a:pt x="349" y="411"/>
                    </a:lnTo>
                    <a:lnTo>
                      <a:pt x="345" y="415"/>
                    </a:lnTo>
                    <a:lnTo>
                      <a:pt x="337" y="429"/>
                    </a:lnTo>
                    <a:lnTo>
                      <a:pt x="329" y="441"/>
                    </a:lnTo>
                    <a:lnTo>
                      <a:pt x="319" y="459"/>
                    </a:lnTo>
                    <a:lnTo>
                      <a:pt x="309" y="475"/>
                    </a:lnTo>
                    <a:lnTo>
                      <a:pt x="297" y="485"/>
                    </a:lnTo>
                    <a:lnTo>
                      <a:pt x="279" y="499"/>
                    </a:lnTo>
                    <a:lnTo>
                      <a:pt x="263" y="513"/>
                    </a:lnTo>
                    <a:lnTo>
                      <a:pt x="247" y="527"/>
                    </a:lnTo>
                    <a:lnTo>
                      <a:pt x="243" y="529"/>
                    </a:lnTo>
                    <a:lnTo>
                      <a:pt x="239" y="529"/>
                    </a:lnTo>
                    <a:lnTo>
                      <a:pt x="223" y="527"/>
                    </a:lnTo>
                    <a:lnTo>
                      <a:pt x="205" y="523"/>
                    </a:lnTo>
                    <a:lnTo>
                      <a:pt x="177" y="519"/>
                    </a:lnTo>
                    <a:lnTo>
                      <a:pt x="153" y="515"/>
                    </a:lnTo>
                    <a:lnTo>
                      <a:pt x="132" y="511"/>
                    </a:lnTo>
                    <a:lnTo>
                      <a:pt x="108" y="507"/>
                    </a:lnTo>
                    <a:lnTo>
                      <a:pt x="88" y="503"/>
                    </a:lnTo>
                    <a:lnTo>
                      <a:pt x="72" y="501"/>
                    </a:lnTo>
                    <a:lnTo>
                      <a:pt x="70" y="503"/>
                    </a:lnTo>
                    <a:lnTo>
                      <a:pt x="72" y="507"/>
                    </a:lnTo>
                    <a:lnTo>
                      <a:pt x="72" y="509"/>
                    </a:lnTo>
                    <a:lnTo>
                      <a:pt x="72" y="509"/>
                    </a:lnTo>
                    <a:lnTo>
                      <a:pt x="72" y="509"/>
                    </a:lnTo>
                    <a:lnTo>
                      <a:pt x="72" y="509"/>
                    </a:lnTo>
                    <a:lnTo>
                      <a:pt x="72" y="511"/>
                    </a:lnTo>
                    <a:lnTo>
                      <a:pt x="70" y="509"/>
                    </a:lnTo>
                    <a:lnTo>
                      <a:pt x="69" y="511"/>
                    </a:lnTo>
                    <a:lnTo>
                      <a:pt x="70" y="515"/>
                    </a:lnTo>
                    <a:lnTo>
                      <a:pt x="70" y="519"/>
                    </a:lnTo>
                    <a:lnTo>
                      <a:pt x="66" y="521"/>
                    </a:lnTo>
                    <a:lnTo>
                      <a:pt x="66" y="523"/>
                    </a:lnTo>
                    <a:lnTo>
                      <a:pt x="64" y="525"/>
                    </a:lnTo>
                    <a:lnTo>
                      <a:pt x="66" y="525"/>
                    </a:lnTo>
                    <a:lnTo>
                      <a:pt x="64" y="529"/>
                    </a:lnTo>
                    <a:lnTo>
                      <a:pt x="63" y="531"/>
                    </a:lnTo>
                    <a:lnTo>
                      <a:pt x="60" y="547"/>
                    </a:lnTo>
                    <a:lnTo>
                      <a:pt x="58" y="551"/>
                    </a:lnTo>
                    <a:lnTo>
                      <a:pt x="57" y="555"/>
                    </a:lnTo>
                    <a:lnTo>
                      <a:pt x="57" y="557"/>
                    </a:lnTo>
                    <a:lnTo>
                      <a:pt x="58" y="561"/>
                    </a:lnTo>
                    <a:lnTo>
                      <a:pt x="57" y="569"/>
                    </a:lnTo>
                    <a:lnTo>
                      <a:pt x="54" y="577"/>
                    </a:lnTo>
                    <a:lnTo>
                      <a:pt x="52" y="581"/>
                    </a:lnTo>
                    <a:lnTo>
                      <a:pt x="52" y="581"/>
                    </a:lnTo>
                    <a:lnTo>
                      <a:pt x="54" y="583"/>
                    </a:lnTo>
                    <a:lnTo>
                      <a:pt x="54" y="585"/>
                    </a:lnTo>
                    <a:lnTo>
                      <a:pt x="54" y="591"/>
                    </a:lnTo>
                    <a:lnTo>
                      <a:pt x="54" y="591"/>
                    </a:lnTo>
                    <a:lnTo>
                      <a:pt x="54" y="593"/>
                    </a:lnTo>
                    <a:lnTo>
                      <a:pt x="54" y="595"/>
                    </a:lnTo>
                    <a:lnTo>
                      <a:pt x="52" y="599"/>
                    </a:lnTo>
                    <a:lnTo>
                      <a:pt x="52" y="599"/>
                    </a:lnTo>
                    <a:lnTo>
                      <a:pt x="52" y="601"/>
                    </a:lnTo>
                    <a:lnTo>
                      <a:pt x="51" y="605"/>
                    </a:lnTo>
                    <a:lnTo>
                      <a:pt x="48" y="611"/>
                    </a:lnTo>
                    <a:lnTo>
                      <a:pt x="46" y="617"/>
                    </a:lnTo>
                    <a:lnTo>
                      <a:pt x="48" y="647"/>
                    </a:lnTo>
                    <a:lnTo>
                      <a:pt x="48" y="651"/>
                    </a:lnTo>
                    <a:lnTo>
                      <a:pt x="46" y="651"/>
                    </a:lnTo>
                    <a:lnTo>
                      <a:pt x="45" y="655"/>
                    </a:lnTo>
                    <a:lnTo>
                      <a:pt x="45" y="657"/>
                    </a:lnTo>
                    <a:lnTo>
                      <a:pt x="42" y="663"/>
                    </a:lnTo>
                    <a:lnTo>
                      <a:pt x="39" y="667"/>
                    </a:lnTo>
                    <a:lnTo>
                      <a:pt x="39" y="675"/>
                    </a:lnTo>
                    <a:lnTo>
                      <a:pt x="34" y="681"/>
                    </a:lnTo>
                    <a:lnTo>
                      <a:pt x="33" y="687"/>
                    </a:lnTo>
                    <a:lnTo>
                      <a:pt x="28" y="691"/>
                    </a:lnTo>
                    <a:lnTo>
                      <a:pt x="30" y="691"/>
                    </a:lnTo>
                    <a:lnTo>
                      <a:pt x="30" y="691"/>
                    </a:lnTo>
                    <a:lnTo>
                      <a:pt x="30" y="691"/>
                    </a:lnTo>
                    <a:lnTo>
                      <a:pt x="30" y="693"/>
                    </a:lnTo>
                    <a:lnTo>
                      <a:pt x="30" y="693"/>
                    </a:lnTo>
                    <a:lnTo>
                      <a:pt x="30" y="693"/>
                    </a:lnTo>
                    <a:lnTo>
                      <a:pt x="30" y="691"/>
                    </a:lnTo>
                    <a:lnTo>
                      <a:pt x="28" y="691"/>
                    </a:lnTo>
                    <a:lnTo>
                      <a:pt x="28" y="699"/>
                    </a:lnTo>
                    <a:lnTo>
                      <a:pt x="28" y="701"/>
                    </a:lnTo>
                    <a:lnTo>
                      <a:pt x="28" y="703"/>
                    </a:lnTo>
                    <a:lnTo>
                      <a:pt x="27" y="703"/>
                    </a:lnTo>
                    <a:lnTo>
                      <a:pt x="24" y="703"/>
                    </a:lnTo>
                    <a:lnTo>
                      <a:pt x="24" y="705"/>
                    </a:lnTo>
                    <a:lnTo>
                      <a:pt x="27" y="705"/>
                    </a:lnTo>
                    <a:lnTo>
                      <a:pt x="27" y="707"/>
                    </a:lnTo>
                    <a:lnTo>
                      <a:pt x="27" y="707"/>
                    </a:lnTo>
                    <a:lnTo>
                      <a:pt x="27" y="709"/>
                    </a:lnTo>
                    <a:lnTo>
                      <a:pt x="27" y="709"/>
                    </a:lnTo>
                    <a:lnTo>
                      <a:pt x="24" y="709"/>
                    </a:lnTo>
                    <a:lnTo>
                      <a:pt x="22" y="709"/>
                    </a:lnTo>
                    <a:lnTo>
                      <a:pt x="22" y="709"/>
                    </a:lnTo>
                    <a:lnTo>
                      <a:pt x="22" y="709"/>
                    </a:lnTo>
                    <a:lnTo>
                      <a:pt x="24" y="707"/>
                    </a:lnTo>
                    <a:lnTo>
                      <a:pt x="24" y="707"/>
                    </a:lnTo>
                    <a:lnTo>
                      <a:pt x="22" y="707"/>
                    </a:lnTo>
                    <a:lnTo>
                      <a:pt x="22" y="707"/>
                    </a:lnTo>
                    <a:lnTo>
                      <a:pt x="20" y="709"/>
                    </a:lnTo>
                    <a:lnTo>
                      <a:pt x="20" y="709"/>
                    </a:lnTo>
                    <a:lnTo>
                      <a:pt x="22" y="711"/>
                    </a:lnTo>
                    <a:lnTo>
                      <a:pt x="20" y="711"/>
                    </a:lnTo>
                    <a:lnTo>
                      <a:pt x="18" y="713"/>
                    </a:lnTo>
                    <a:lnTo>
                      <a:pt x="18" y="713"/>
                    </a:lnTo>
                    <a:lnTo>
                      <a:pt x="18" y="713"/>
                    </a:lnTo>
                    <a:lnTo>
                      <a:pt x="16" y="715"/>
                    </a:lnTo>
                    <a:lnTo>
                      <a:pt x="16" y="715"/>
                    </a:lnTo>
                    <a:lnTo>
                      <a:pt x="12" y="719"/>
                    </a:lnTo>
                    <a:lnTo>
                      <a:pt x="14" y="721"/>
                    </a:lnTo>
                    <a:lnTo>
                      <a:pt x="14" y="723"/>
                    </a:lnTo>
                    <a:lnTo>
                      <a:pt x="16" y="721"/>
                    </a:lnTo>
                    <a:lnTo>
                      <a:pt x="18" y="723"/>
                    </a:lnTo>
                    <a:lnTo>
                      <a:pt x="18" y="727"/>
                    </a:lnTo>
                    <a:lnTo>
                      <a:pt x="18" y="729"/>
                    </a:lnTo>
                    <a:lnTo>
                      <a:pt x="20" y="731"/>
                    </a:lnTo>
                    <a:lnTo>
                      <a:pt x="20" y="733"/>
                    </a:lnTo>
                    <a:lnTo>
                      <a:pt x="20" y="733"/>
                    </a:lnTo>
                    <a:lnTo>
                      <a:pt x="20" y="733"/>
                    </a:lnTo>
                    <a:lnTo>
                      <a:pt x="20" y="733"/>
                    </a:lnTo>
                    <a:lnTo>
                      <a:pt x="20" y="733"/>
                    </a:lnTo>
                    <a:lnTo>
                      <a:pt x="22" y="733"/>
                    </a:lnTo>
                    <a:lnTo>
                      <a:pt x="24" y="731"/>
                    </a:lnTo>
                    <a:lnTo>
                      <a:pt x="24" y="729"/>
                    </a:lnTo>
                    <a:lnTo>
                      <a:pt x="24" y="727"/>
                    </a:lnTo>
                    <a:lnTo>
                      <a:pt x="27" y="727"/>
                    </a:lnTo>
                    <a:lnTo>
                      <a:pt x="27" y="727"/>
                    </a:lnTo>
                    <a:lnTo>
                      <a:pt x="27" y="727"/>
                    </a:lnTo>
                    <a:lnTo>
                      <a:pt x="27" y="727"/>
                    </a:lnTo>
                    <a:lnTo>
                      <a:pt x="28" y="727"/>
                    </a:lnTo>
                    <a:lnTo>
                      <a:pt x="28" y="725"/>
                    </a:lnTo>
                    <a:lnTo>
                      <a:pt x="24" y="723"/>
                    </a:lnTo>
                    <a:lnTo>
                      <a:pt x="24" y="721"/>
                    </a:lnTo>
                    <a:lnTo>
                      <a:pt x="27" y="721"/>
                    </a:lnTo>
                    <a:lnTo>
                      <a:pt x="28" y="719"/>
                    </a:lnTo>
                    <a:lnTo>
                      <a:pt x="28" y="719"/>
                    </a:lnTo>
                    <a:lnTo>
                      <a:pt x="30" y="717"/>
                    </a:lnTo>
                    <a:lnTo>
                      <a:pt x="30" y="715"/>
                    </a:lnTo>
                    <a:lnTo>
                      <a:pt x="30" y="715"/>
                    </a:lnTo>
                    <a:lnTo>
                      <a:pt x="33" y="717"/>
                    </a:lnTo>
                    <a:lnTo>
                      <a:pt x="33" y="715"/>
                    </a:lnTo>
                    <a:lnTo>
                      <a:pt x="33" y="715"/>
                    </a:lnTo>
                    <a:lnTo>
                      <a:pt x="34" y="715"/>
                    </a:lnTo>
                    <a:lnTo>
                      <a:pt x="34" y="715"/>
                    </a:lnTo>
                    <a:lnTo>
                      <a:pt x="34" y="717"/>
                    </a:lnTo>
                    <a:lnTo>
                      <a:pt x="36" y="717"/>
                    </a:lnTo>
                    <a:lnTo>
                      <a:pt x="36" y="719"/>
                    </a:lnTo>
                    <a:lnTo>
                      <a:pt x="36" y="719"/>
                    </a:lnTo>
                    <a:lnTo>
                      <a:pt x="39" y="721"/>
                    </a:lnTo>
                    <a:lnTo>
                      <a:pt x="40" y="719"/>
                    </a:lnTo>
                    <a:lnTo>
                      <a:pt x="40" y="719"/>
                    </a:lnTo>
                    <a:lnTo>
                      <a:pt x="40" y="721"/>
                    </a:lnTo>
                    <a:lnTo>
                      <a:pt x="42" y="721"/>
                    </a:lnTo>
                    <a:lnTo>
                      <a:pt x="42" y="721"/>
                    </a:lnTo>
                    <a:lnTo>
                      <a:pt x="42" y="721"/>
                    </a:lnTo>
                    <a:lnTo>
                      <a:pt x="45" y="721"/>
                    </a:lnTo>
                    <a:lnTo>
                      <a:pt x="45" y="721"/>
                    </a:lnTo>
                    <a:lnTo>
                      <a:pt x="45" y="723"/>
                    </a:lnTo>
                    <a:lnTo>
                      <a:pt x="45" y="723"/>
                    </a:lnTo>
                    <a:lnTo>
                      <a:pt x="45" y="723"/>
                    </a:lnTo>
                    <a:lnTo>
                      <a:pt x="45" y="723"/>
                    </a:lnTo>
                    <a:lnTo>
                      <a:pt x="45" y="723"/>
                    </a:lnTo>
                    <a:lnTo>
                      <a:pt x="46" y="723"/>
                    </a:lnTo>
                    <a:lnTo>
                      <a:pt x="46" y="721"/>
                    </a:lnTo>
                    <a:lnTo>
                      <a:pt x="48" y="719"/>
                    </a:lnTo>
                    <a:lnTo>
                      <a:pt x="48" y="719"/>
                    </a:lnTo>
                    <a:lnTo>
                      <a:pt x="52" y="719"/>
                    </a:lnTo>
                    <a:lnTo>
                      <a:pt x="51" y="721"/>
                    </a:lnTo>
                    <a:lnTo>
                      <a:pt x="51" y="721"/>
                    </a:lnTo>
                    <a:lnTo>
                      <a:pt x="52" y="721"/>
                    </a:lnTo>
                    <a:lnTo>
                      <a:pt x="51" y="723"/>
                    </a:lnTo>
                    <a:lnTo>
                      <a:pt x="48" y="723"/>
                    </a:lnTo>
                    <a:lnTo>
                      <a:pt x="48" y="725"/>
                    </a:lnTo>
                    <a:lnTo>
                      <a:pt x="46" y="725"/>
                    </a:lnTo>
                    <a:lnTo>
                      <a:pt x="48" y="725"/>
                    </a:lnTo>
                    <a:lnTo>
                      <a:pt x="48" y="725"/>
                    </a:lnTo>
                    <a:lnTo>
                      <a:pt x="48" y="725"/>
                    </a:lnTo>
                    <a:lnTo>
                      <a:pt x="48" y="727"/>
                    </a:lnTo>
                    <a:lnTo>
                      <a:pt x="51" y="723"/>
                    </a:lnTo>
                    <a:lnTo>
                      <a:pt x="52" y="723"/>
                    </a:lnTo>
                    <a:lnTo>
                      <a:pt x="54" y="721"/>
                    </a:lnTo>
                    <a:lnTo>
                      <a:pt x="54" y="721"/>
                    </a:lnTo>
                    <a:lnTo>
                      <a:pt x="52" y="721"/>
                    </a:lnTo>
                    <a:lnTo>
                      <a:pt x="52" y="719"/>
                    </a:lnTo>
                    <a:lnTo>
                      <a:pt x="54" y="719"/>
                    </a:lnTo>
                    <a:lnTo>
                      <a:pt x="57" y="719"/>
                    </a:lnTo>
                    <a:lnTo>
                      <a:pt x="57" y="719"/>
                    </a:lnTo>
                    <a:lnTo>
                      <a:pt x="58" y="719"/>
                    </a:lnTo>
                    <a:lnTo>
                      <a:pt x="57" y="719"/>
                    </a:lnTo>
                    <a:lnTo>
                      <a:pt x="57" y="721"/>
                    </a:lnTo>
                    <a:lnTo>
                      <a:pt x="54" y="721"/>
                    </a:lnTo>
                    <a:lnTo>
                      <a:pt x="57" y="723"/>
                    </a:lnTo>
                    <a:lnTo>
                      <a:pt x="57" y="723"/>
                    </a:lnTo>
                    <a:lnTo>
                      <a:pt x="54" y="723"/>
                    </a:lnTo>
                    <a:lnTo>
                      <a:pt x="54" y="725"/>
                    </a:lnTo>
                    <a:lnTo>
                      <a:pt x="54" y="725"/>
                    </a:lnTo>
                    <a:lnTo>
                      <a:pt x="54" y="725"/>
                    </a:lnTo>
                    <a:lnTo>
                      <a:pt x="57" y="727"/>
                    </a:lnTo>
                    <a:lnTo>
                      <a:pt x="58" y="723"/>
                    </a:lnTo>
                    <a:lnTo>
                      <a:pt x="60" y="723"/>
                    </a:lnTo>
                    <a:lnTo>
                      <a:pt x="64" y="725"/>
                    </a:lnTo>
                    <a:lnTo>
                      <a:pt x="66" y="723"/>
                    </a:lnTo>
                    <a:lnTo>
                      <a:pt x="66" y="723"/>
                    </a:lnTo>
                    <a:lnTo>
                      <a:pt x="66" y="725"/>
                    </a:lnTo>
                    <a:lnTo>
                      <a:pt x="69" y="725"/>
                    </a:lnTo>
                    <a:lnTo>
                      <a:pt x="69" y="723"/>
                    </a:lnTo>
                    <a:lnTo>
                      <a:pt x="70" y="723"/>
                    </a:lnTo>
                    <a:lnTo>
                      <a:pt x="70" y="723"/>
                    </a:lnTo>
                    <a:lnTo>
                      <a:pt x="76" y="721"/>
                    </a:lnTo>
                    <a:lnTo>
                      <a:pt x="78" y="719"/>
                    </a:lnTo>
                    <a:lnTo>
                      <a:pt x="78" y="719"/>
                    </a:lnTo>
                    <a:lnTo>
                      <a:pt x="81" y="719"/>
                    </a:lnTo>
                    <a:lnTo>
                      <a:pt x="82" y="721"/>
                    </a:lnTo>
                    <a:lnTo>
                      <a:pt x="84" y="721"/>
                    </a:lnTo>
                    <a:lnTo>
                      <a:pt x="84" y="721"/>
                    </a:lnTo>
                    <a:lnTo>
                      <a:pt x="82" y="719"/>
                    </a:lnTo>
                    <a:lnTo>
                      <a:pt x="82" y="719"/>
                    </a:lnTo>
                    <a:lnTo>
                      <a:pt x="84" y="719"/>
                    </a:lnTo>
                    <a:lnTo>
                      <a:pt x="87" y="719"/>
                    </a:lnTo>
                    <a:lnTo>
                      <a:pt x="88" y="717"/>
                    </a:lnTo>
                    <a:lnTo>
                      <a:pt x="94" y="723"/>
                    </a:lnTo>
                    <a:lnTo>
                      <a:pt x="96" y="725"/>
                    </a:lnTo>
                    <a:lnTo>
                      <a:pt x="99" y="725"/>
                    </a:lnTo>
                    <a:lnTo>
                      <a:pt x="100" y="725"/>
                    </a:lnTo>
                    <a:lnTo>
                      <a:pt x="102" y="725"/>
                    </a:lnTo>
                    <a:lnTo>
                      <a:pt x="102" y="727"/>
                    </a:lnTo>
                    <a:lnTo>
                      <a:pt x="105" y="727"/>
                    </a:lnTo>
                    <a:lnTo>
                      <a:pt x="105" y="729"/>
                    </a:lnTo>
                    <a:lnTo>
                      <a:pt x="107" y="729"/>
                    </a:lnTo>
                    <a:lnTo>
                      <a:pt x="107" y="727"/>
                    </a:lnTo>
                    <a:lnTo>
                      <a:pt x="107" y="727"/>
                    </a:lnTo>
                    <a:lnTo>
                      <a:pt x="108" y="729"/>
                    </a:lnTo>
                    <a:lnTo>
                      <a:pt x="113" y="729"/>
                    </a:lnTo>
                    <a:lnTo>
                      <a:pt x="113" y="729"/>
                    </a:lnTo>
                    <a:lnTo>
                      <a:pt x="114" y="733"/>
                    </a:lnTo>
                    <a:lnTo>
                      <a:pt x="114" y="733"/>
                    </a:lnTo>
                    <a:lnTo>
                      <a:pt x="113" y="733"/>
                    </a:lnTo>
                    <a:lnTo>
                      <a:pt x="111" y="733"/>
                    </a:lnTo>
                    <a:lnTo>
                      <a:pt x="107" y="735"/>
                    </a:lnTo>
                    <a:lnTo>
                      <a:pt x="105" y="737"/>
                    </a:lnTo>
                    <a:lnTo>
                      <a:pt x="107" y="739"/>
                    </a:lnTo>
                    <a:lnTo>
                      <a:pt x="108" y="739"/>
                    </a:lnTo>
                    <a:lnTo>
                      <a:pt x="108" y="739"/>
                    </a:lnTo>
                    <a:lnTo>
                      <a:pt x="114" y="745"/>
                    </a:lnTo>
                    <a:lnTo>
                      <a:pt x="119" y="745"/>
                    </a:lnTo>
                    <a:lnTo>
                      <a:pt x="119" y="747"/>
                    </a:lnTo>
                    <a:lnTo>
                      <a:pt x="123" y="751"/>
                    </a:lnTo>
                    <a:lnTo>
                      <a:pt x="131" y="761"/>
                    </a:lnTo>
                    <a:lnTo>
                      <a:pt x="131" y="763"/>
                    </a:lnTo>
                    <a:lnTo>
                      <a:pt x="132" y="769"/>
                    </a:lnTo>
                    <a:lnTo>
                      <a:pt x="135" y="771"/>
                    </a:lnTo>
                    <a:lnTo>
                      <a:pt x="135" y="773"/>
                    </a:lnTo>
                    <a:lnTo>
                      <a:pt x="135" y="775"/>
                    </a:lnTo>
                    <a:lnTo>
                      <a:pt x="137" y="775"/>
                    </a:lnTo>
                    <a:lnTo>
                      <a:pt x="141" y="777"/>
                    </a:lnTo>
                    <a:lnTo>
                      <a:pt x="141" y="777"/>
                    </a:lnTo>
                    <a:lnTo>
                      <a:pt x="144" y="783"/>
                    </a:lnTo>
                    <a:lnTo>
                      <a:pt x="149" y="793"/>
                    </a:lnTo>
                    <a:lnTo>
                      <a:pt x="150" y="797"/>
                    </a:lnTo>
                    <a:lnTo>
                      <a:pt x="156" y="803"/>
                    </a:lnTo>
                    <a:lnTo>
                      <a:pt x="159" y="805"/>
                    </a:lnTo>
                    <a:lnTo>
                      <a:pt x="159" y="809"/>
                    </a:lnTo>
                    <a:lnTo>
                      <a:pt x="159" y="815"/>
                    </a:lnTo>
                    <a:lnTo>
                      <a:pt x="159" y="819"/>
                    </a:lnTo>
                    <a:lnTo>
                      <a:pt x="161" y="823"/>
                    </a:lnTo>
                    <a:lnTo>
                      <a:pt x="167" y="835"/>
                    </a:lnTo>
                    <a:lnTo>
                      <a:pt x="171" y="839"/>
                    </a:lnTo>
                    <a:lnTo>
                      <a:pt x="177" y="845"/>
                    </a:lnTo>
                    <a:lnTo>
                      <a:pt x="179" y="851"/>
                    </a:lnTo>
                    <a:lnTo>
                      <a:pt x="180" y="851"/>
                    </a:lnTo>
                    <a:lnTo>
                      <a:pt x="189" y="857"/>
                    </a:lnTo>
                    <a:lnTo>
                      <a:pt x="203" y="873"/>
                    </a:lnTo>
                    <a:lnTo>
                      <a:pt x="205" y="879"/>
                    </a:lnTo>
                    <a:lnTo>
                      <a:pt x="207" y="881"/>
                    </a:lnTo>
                    <a:lnTo>
                      <a:pt x="207" y="881"/>
                    </a:lnTo>
                    <a:lnTo>
                      <a:pt x="205" y="885"/>
                    </a:lnTo>
                    <a:lnTo>
                      <a:pt x="205" y="885"/>
                    </a:lnTo>
                    <a:lnTo>
                      <a:pt x="205" y="887"/>
                    </a:lnTo>
                    <a:lnTo>
                      <a:pt x="205" y="889"/>
                    </a:lnTo>
                    <a:lnTo>
                      <a:pt x="209" y="897"/>
                    </a:lnTo>
                    <a:lnTo>
                      <a:pt x="223" y="913"/>
                    </a:lnTo>
                    <a:lnTo>
                      <a:pt x="233" y="923"/>
                    </a:lnTo>
                    <a:lnTo>
                      <a:pt x="235" y="929"/>
                    </a:lnTo>
                    <a:lnTo>
                      <a:pt x="237" y="931"/>
                    </a:lnTo>
                    <a:lnTo>
                      <a:pt x="241" y="929"/>
                    </a:lnTo>
                    <a:lnTo>
                      <a:pt x="243" y="941"/>
                    </a:lnTo>
                    <a:lnTo>
                      <a:pt x="249" y="949"/>
                    </a:lnTo>
                    <a:lnTo>
                      <a:pt x="251" y="955"/>
                    </a:lnTo>
                    <a:lnTo>
                      <a:pt x="255" y="961"/>
                    </a:lnTo>
                    <a:lnTo>
                      <a:pt x="265" y="969"/>
                    </a:lnTo>
                    <a:lnTo>
                      <a:pt x="271" y="979"/>
                    </a:lnTo>
                    <a:lnTo>
                      <a:pt x="283" y="1001"/>
                    </a:lnTo>
                    <a:lnTo>
                      <a:pt x="295" y="1029"/>
                    </a:lnTo>
                    <a:lnTo>
                      <a:pt x="303" y="1037"/>
                    </a:lnTo>
                    <a:lnTo>
                      <a:pt x="305" y="1043"/>
                    </a:lnTo>
                    <a:lnTo>
                      <a:pt x="315" y="1067"/>
                    </a:lnTo>
                    <a:lnTo>
                      <a:pt x="319" y="1071"/>
                    </a:lnTo>
                    <a:lnTo>
                      <a:pt x="325" y="1073"/>
                    </a:lnTo>
                    <a:lnTo>
                      <a:pt x="329" y="1075"/>
                    </a:lnTo>
                    <a:lnTo>
                      <a:pt x="335" y="1075"/>
                    </a:lnTo>
                    <a:lnTo>
                      <a:pt x="341" y="1079"/>
                    </a:lnTo>
                    <a:lnTo>
                      <a:pt x="343" y="1083"/>
                    </a:lnTo>
                    <a:lnTo>
                      <a:pt x="345" y="1087"/>
                    </a:lnTo>
                    <a:lnTo>
                      <a:pt x="347" y="1091"/>
                    </a:lnTo>
                    <a:lnTo>
                      <a:pt x="345" y="1095"/>
                    </a:lnTo>
                    <a:lnTo>
                      <a:pt x="343" y="1099"/>
                    </a:lnTo>
                    <a:lnTo>
                      <a:pt x="341" y="1103"/>
                    </a:lnTo>
                    <a:lnTo>
                      <a:pt x="339" y="1107"/>
                    </a:lnTo>
                    <a:lnTo>
                      <a:pt x="339" y="1111"/>
                    </a:lnTo>
                    <a:lnTo>
                      <a:pt x="341" y="1115"/>
                    </a:lnTo>
                    <a:lnTo>
                      <a:pt x="341" y="1117"/>
                    </a:lnTo>
                    <a:lnTo>
                      <a:pt x="343" y="1117"/>
                    </a:lnTo>
                    <a:lnTo>
                      <a:pt x="343" y="1117"/>
                    </a:lnTo>
                    <a:lnTo>
                      <a:pt x="343" y="1121"/>
                    </a:lnTo>
                    <a:lnTo>
                      <a:pt x="343" y="1123"/>
                    </a:lnTo>
                    <a:lnTo>
                      <a:pt x="345" y="1123"/>
                    </a:lnTo>
                    <a:lnTo>
                      <a:pt x="349" y="1129"/>
                    </a:lnTo>
                    <a:lnTo>
                      <a:pt x="349" y="1129"/>
                    </a:lnTo>
                    <a:lnTo>
                      <a:pt x="353" y="1131"/>
                    </a:lnTo>
                    <a:lnTo>
                      <a:pt x="357" y="1133"/>
                    </a:lnTo>
                    <a:lnTo>
                      <a:pt x="359" y="1135"/>
                    </a:lnTo>
                    <a:lnTo>
                      <a:pt x="361" y="1133"/>
                    </a:lnTo>
                    <a:lnTo>
                      <a:pt x="361" y="1131"/>
                    </a:lnTo>
                    <a:lnTo>
                      <a:pt x="359" y="1129"/>
                    </a:lnTo>
                    <a:lnTo>
                      <a:pt x="359" y="1127"/>
                    </a:lnTo>
                    <a:lnTo>
                      <a:pt x="363" y="1127"/>
                    </a:lnTo>
                    <a:lnTo>
                      <a:pt x="367" y="1133"/>
                    </a:lnTo>
                    <a:lnTo>
                      <a:pt x="373" y="1143"/>
                    </a:lnTo>
                    <a:lnTo>
                      <a:pt x="375" y="1143"/>
                    </a:lnTo>
                    <a:lnTo>
                      <a:pt x="379" y="1145"/>
                    </a:lnTo>
                    <a:lnTo>
                      <a:pt x="381" y="1147"/>
                    </a:lnTo>
                    <a:lnTo>
                      <a:pt x="383" y="1149"/>
                    </a:lnTo>
                    <a:lnTo>
                      <a:pt x="385" y="1153"/>
                    </a:lnTo>
                    <a:lnTo>
                      <a:pt x="387" y="1155"/>
                    </a:lnTo>
                    <a:lnTo>
                      <a:pt x="387" y="1157"/>
                    </a:lnTo>
                    <a:lnTo>
                      <a:pt x="387" y="1159"/>
                    </a:lnTo>
                    <a:lnTo>
                      <a:pt x="387" y="1159"/>
                    </a:lnTo>
                    <a:lnTo>
                      <a:pt x="387" y="1161"/>
                    </a:lnTo>
                    <a:lnTo>
                      <a:pt x="389" y="1163"/>
                    </a:lnTo>
                    <a:lnTo>
                      <a:pt x="391" y="1163"/>
                    </a:lnTo>
                    <a:lnTo>
                      <a:pt x="393" y="1172"/>
                    </a:lnTo>
                    <a:lnTo>
                      <a:pt x="395" y="1173"/>
                    </a:lnTo>
                    <a:lnTo>
                      <a:pt x="401" y="1179"/>
                    </a:lnTo>
                    <a:lnTo>
                      <a:pt x="403" y="1184"/>
                    </a:lnTo>
                    <a:lnTo>
                      <a:pt x="401" y="1185"/>
                    </a:lnTo>
                    <a:lnTo>
                      <a:pt x="401" y="1187"/>
                    </a:lnTo>
                    <a:lnTo>
                      <a:pt x="403" y="1191"/>
                    </a:lnTo>
                    <a:lnTo>
                      <a:pt x="405" y="1191"/>
                    </a:lnTo>
                    <a:lnTo>
                      <a:pt x="405" y="1193"/>
                    </a:lnTo>
                    <a:lnTo>
                      <a:pt x="405" y="1197"/>
                    </a:lnTo>
                    <a:lnTo>
                      <a:pt x="405" y="1199"/>
                    </a:lnTo>
                    <a:lnTo>
                      <a:pt x="407" y="1203"/>
                    </a:lnTo>
                    <a:lnTo>
                      <a:pt x="411" y="1208"/>
                    </a:lnTo>
                    <a:lnTo>
                      <a:pt x="413" y="1209"/>
                    </a:lnTo>
                    <a:lnTo>
                      <a:pt x="417" y="1214"/>
                    </a:lnTo>
                    <a:lnTo>
                      <a:pt x="417" y="1214"/>
                    </a:lnTo>
                    <a:lnTo>
                      <a:pt x="419" y="1217"/>
                    </a:lnTo>
                    <a:lnTo>
                      <a:pt x="421" y="1220"/>
                    </a:lnTo>
                    <a:lnTo>
                      <a:pt x="423" y="1220"/>
                    </a:lnTo>
                    <a:lnTo>
                      <a:pt x="425" y="1221"/>
                    </a:lnTo>
                    <a:lnTo>
                      <a:pt x="427" y="1226"/>
                    </a:lnTo>
                    <a:lnTo>
                      <a:pt x="429" y="1227"/>
                    </a:lnTo>
                    <a:lnTo>
                      <a:pt x="431" y="1232"/>
                    </a:lnTo>
                    <a:lnTo>
                      <a:pt x="431" y="1235"/>
                    </a:lnTo>
                    <a:lnTo>
                      <a:pt x="431" y="1239"/>
                    </a:lnTo>
                    <a:lnTo>
                      <a:pt x="431" y="1250"/>
                    </a:lnTo>
                    <a:lnTo>
                      <a:pt x="431" y="1253"/>
                    </a:lnTo>
                    <a:lnTo>
                      <a:pt x="435" y="1259"/>
                    </a:lnTo>
                    <a:lnTo>
                      <a:pt x="435" y="1263"/>
                    </a:lnTo>
                    <a:lnTo>
                      <a:pt x="431" y="1271"/>
                    </a:lnTo>
                    <a:lnTo>
                      <a:pt x="431" y="1280"/>
                    </a:lnTo>
                    <a:lnTo>
                      <a:pt x="429" y="1283"/>
                    </a:lnTo>
                    <a:lnTo>
                      <a:pt x="425" y="1283"/>
                    </a:lnTo>
                    <a:lnTo>
                      <a:pt x="421" y="1283"/>
                    </a:lnTo>
                    <a:lnTo>
                      <a:pt x="419" y="1283"/>
                    </a:lnTo>
                    <a:lnTo>
                      <a:pt x="415" y="1283"/>
                    </a:lnTo>
                    <a:lnTo>
                      <a:pt x="417" y="1289"/>
                    </a:lnTo>
                    <a:lnTo>
                      <a:pt x="419" y="1292"/>
                    </a:lnTo>
                    <a:lnTo>
                      <a:pt x="421" y="1294"/>
                    </a:lnTo>
                    <a:lnTo>
                      <a:pt x="423" y="1294"/>
                    </a:lnTo>
                    <a:lnTo>
                      <a:pt x="425" y="1292"/>
                    </a:lnTo>
                    <a:lnTo>
                      <a:pt x="427" y="1292"/>
                    </a:lnTo>
                    <a:lnTo>
                      <a:pt x="427" y="1294"/>
                    </a:lnTo>
                    <a:lnTo>
                      <a:pt x="427" y="1295"/>
                    </a:lnTo>
                    <a:lnTo>
                      <a:pt x="427" y="1298"/>
                    </a:lnTo>
                    <a:lnTo>
                      <a:pt x="427" y="1298"/>
                    </a:lnTo>
                    <a:lnTo>
                      <a:pt x="427" y="1304"/>
                    </a:lnTo>
                    <a:lnTo>
                      <a:pt x="431" y="1310"/>
                    </a:lnTo>
                    <a:lnTo>
                      <a:pt x="441" y="1318"/>
                    </a:lnTo>
                    <a:lnTo>
                      <a:pt x="465" y="1360"/>
                    </a:lnTo>
                    <a:lnTo>
                      <a:pt x="465" y="1360"/>
                    </a:lnTo>
                    <a:lnTo>
                      <a:pt x="463" y="1358"/>
                    </a:lnTo>
                    <a:lnTo>
                      <a:pt x="463" y="1358"/>
                    </a:lnTo>
                    <a:lnTo>
                      <a:pt x="461" y="1361"/>
                    </a:lnTo>
                    <a:lnTo>
                      <a:pt x="461" y="1364"/>
                    </a:lnTo>
                    <a:lnTo>
                      <a:pt x="463" y="1364"/>
                    </a:lnTo>
                    <a:lnTo>
                      <a:pt x="465" y="1366"/>
                    </a:lnTo>
                    <a:lnTo>
                      <a:pt x="469" y="1373"/>
                    </a:lnTo>
                    <a:lnTo>
                      <a:pt x="471" y="1378"/>
                    </a:lnTo>
                    <a:lnTo>
                      <a:pt x="473" y="1380"/>
                    </a:lnTo>
                    <a:lnTo>
                      <a:pt x="475" y="1380"/>
                    </a:lnTo>
                    <a:lnTo>
                      <a:pt x="477" y="1382"/>
                    </a:lnTo>
                    <a:lnTo>
                      <a:pt x="487" y="1384"/>
                    </a:lnTo>
                    <a:lnTo>
                      <a:pt x="489" y="1384"/>
                    </a:lnTo>
                    <a:lnTo>
                      <a:pt x="489" y="1382"/>
                    </a:lnTo>
                    <a:lnTo>
                      <a:pt x="489" y="1380"/>
                    </a:lnTo>
                    <a:lnTo>
                      <a:pt x="491" y="1378"/>
                    </a:lnTo>
                    <a:lnTo>
                      <a:pt x="493" y="1378"/>
                    </a:lnTo>
                    <a:lnTo>
                      <a:pt x="497" y="1378"/>
                    </a:lnTo>
                    <a:lnTo>
                      <a:pt x="499" y="1378"/>
                    </a:lnTo>
                    <a:lnTo>
                      <a:pt x="503" y="1382"/>
                    </a:lnTo>
                    <a:lnTo>
                      <a:pt x="505" y="1384"/>
                    </a:lnTo>
                    <a:lnTo>
                      <a:pt x="509" y="1384"/>
                    </a:lnTo>
                    <a:lnTo>
                      <a:pt x="509" y="1386"/>
                    </a:lnTo>
                    <a:lnTo>
                      <a:pt x="511" y="1388"/>
                    </a:lnTo>
                    <a:lnTo>
                      <a:pt x="517" y="1396"/>
                    </a:lnTo>
                    <a:lnTo>
                      <a:pt x="519" y="1398"/>
                    </a:lnTo>
                    <a:lnTo>
                      <a:pt x="525" y="1398"/>
                    </a:lnTo>
                    <a:lnTo>
                      <a:pt x="527" y="1398"/>
                    </a:lnTo>
                    <a:lnTo>
                      <a:pt x="529" y="1400"/>
                    </a:lnTo>
                    <a:lnTo>
                      <a:pt x="531" y="1398"/>
                    </a:lnTo>
                    <a:lnTo>
                      <a:pt x="529" y="1396"/>
                    </a:lnTo>
                    <a:lnTo>
                      <a:pt x="529" y="1394"/>
                    </a:lnTo>
                    <a:lnTo>
                      <a:pt x="531" y="1392"/>
                    </a:lnTo>
                    <a:lnTo>
                      <a:pt x="533" y="1392"/>
                    </a:lnTo>
                    <a:lnTo>
                      <a:pt x="533" y="1390"/>
                    </a:lnTo>
                    <a:lnTo>
                      <a:pt x="535" y="1390"/>
                    </a:lnTo>
                    <a:lnTo>
                      <a:pt x="535" y="1390"/>
                    </a:lnTo>
                    <a:lnTo>
                      <a:pt x="537" y="1392"/>
                    </a:lnTo>
                    <a:lnTo>
                      <a:pt x="535" y="1394"/>
                    </a:lnTo>
                    <a:lnTo>
                      <a:pt x="535" y="1396"/>
                    </a:lnTo>
                    <a:lnTo>
                      <a:pt x="533" y="1398"/>
                    </a:lnTo>
                    <a:lnTo>
                      <a:pt x="535" y="1398"/>
                    </a:lnTo>
                    <a:lnTo>
                      <a:pt x="537" y="1396"/>
                    </a:lnTo>
                    <a:lnTo>
                      <a:pt x="537" y="1398"/>
                    </a:lnTo>
                    <a:lnTo>
                      <a:pt x="539" y="1398"/>
                    </a:lnTo>
                    <a:lnTo>
                      <a:pt x="535" y="1400"/>
                    </a:lnTo>
                    <a:lnTo>
                      <a:pt x="533" y="1400"/>
                    </a:lnTo>
                    <a:lnTo>
                      <a:pt x="541" y="1406"/>
                    </a:lnTo>
                    <a:lnTo>
                      <a:pt x="547" y="1412"/>
                    </a:lnTo>
                    <a:lnTo>
                      <a:pt x="551" y="1414"/>
                    </a:lnTo>
                    <a:lnTo>
                      <a:pt x="553" y="1416"/>
                    </a:lnTo>
                    <a:lnTo>
                      <a:pt x="553" y="1416"/>
                    </a:lnTo>
                    <a:lnTo>
                      <a:pt x="555" y="1414"/>
                    </a:lnTo>
                    <a:lnTo>
                      <a:pt x="557" y="1414"/>
                    </a:lnTo>
                    <a:lnTo>
                      <a:pt x="557" y="1414"/>
                    </a:lnTo>
                    <a:lnTo>
                      <a:pt x="565" y="1420"/>
                    </a:lnTo>
                    <a:lnTo>
                      <a:pt x="569" y="1422"/>
                    </a:lnTo>
                    <a:lnTo>
                      <a:pt x="569" y="1424"/>
                    </a:lnTo>
                    <a:lnTo>
                      <a:pt x="575" y="1430"/>
                    </a:lnTo>
                    <a:lnTo>
                      <a:pt x="577" y="1432"/>
                    </a:lnTo>
                    <a:lnTo>
                      <a:pt x="579" y="1434"/>
                    </a:lnTo>
                    <a:lnTo>
                      <a:pt x="581" y="1434"/>
                    </a:lnTo>
                    <a:lnTo>
                      <a:pt x="585" y="1436"/>
                    </a:lnTo>
                    <a:lnTo>
                      <a:pt x="587" y="1436"/>
                    </a:lnTo>
                    <a:lnTo>
                      <a:pt x="589" y="1440"/>
                    </a:lnTo>
                    <a:lnTo>
                      <a:pt x="591" y="1444"/>
                    </a:lnTo>
                    <a:lnTo>
                      <a:pt x="593" y="1446"/>
                    </a:lnTo>
                    <a:lnTo>
                      <a:pt x="595" y="1446"/>
                    </a:lnTo>
                    <a:lnTo>
                      <a:pt x="599" y="1448"/>
                    </a:lnTo>
                    <a:lnTo>
                      <a:pt x="599" y="1448"/>
                    </a:lnTo>
                    <a:lnTo>
                      <a:pt x="601" y="1450"/>
                    </a:lnTo>
                    <a:lnTo>
                      <a:pt x="603" y="1454"/>
                    </a:lnTo>
                    <a:lnTo>
                      <a:pt x="605" y="1454"/>
                    </a:lnTo>
                    <a:lnTo>
                      <a:pt x="605" y="1456"/>
                    </a:lnTo>
                    <a:lnTo>
                      <a:pt x="607" y="1460"/>
                    </a:lnTo>
                    <a:lnTo>
                      <a:pt x="607" y="1460"/>
                    </a:lnTo>
                    <a:lnTo>
                      <a:pt x="611" y="1460"/>
                    </a:lnTo>
                    <a:lnTo>
                      <a:pt x="613" y="1462"/>
                    </a:lnTo>
                    <a:lnTo>
                      <a:pt x="615" y="1462"/>
                    </a:lnTo>
                    <a:lnTo>
                      <a:pt x="617" y="1464"/>
                    </a:lnTo>
                    <a:lnTo>
                      <a:pt x="619" y="1468"/>
                    </a:lnTo>
                    <a:lnTo>
                      <a:pt x="619" y="1474"/>
                    </a:lnTo>
                    <a:lnTo>
                      <a:pt x="619" y="1476"/>
                    </a:lnTo>
                    <a:lnTo>
                      <a:pt x="625" y="1486"/>
                    </a:lnTo>
                    <a:lnTo>
                      <a:pt x="631" y="1502"/>
                    </a:lnTo>
                    <a:lnTo>
                      <a:pt x="635" y="1508"/>
                    </a:lnTo>
                    <a:lnTo>
                      <a:pt x="639" y="1510"/>
                    </a:lnTo>
                    <a:lnTo>
                      <a:pt x="639" y="1508"/>
                    </a:lnTo>
                    <a:lnTo>
                      <a:pt x="635" y="1506"/>
                    </a:lnTo>
                    <a:lnTo>
                      <a:pt x="633" y="1506"/>
                    </a:lnTo>
                    <a:lnTo>
                      <a:pt x="633" y="1502"/>
                    </a:lnTo>
                    <a:lnTo>
                      <a:pt x="635" y="1502"/>
                    </a:lnTo>
                    <a:lnTo>
                      <a:pt x="637" y="1504"/>
                    </a:lnTo>
                    <a:lnTo>
                      <a:pt x="639" y="1502"/>
                    </a:lnTo>
                    <a:lnTo>
                      <a:pt x="641" y="1504"/>
                    </a:lnTo>
                    <a:lnTo>
                      <a:pt x="641" y="1506"/>
                    </a:lnTo>
                    <a:lnTo>
                      <a:pt x="641" y="1508"/>
                    </a:lnTo>
                    <a:lnTo>
                      <a:pt x="645" y="1512"/>
                    </a:lnTo>
                    <a:lnTo>
                      <a:pt x="647" y="1514"/>
                    </a:lnTo>
                    <a:lnTo>
                      <a:pt x="647" y="1518"/>
                    </a:lnTo>
                    <a:lnTo>
                      <a:pt x="649" y="1522"/>
                    </a:lnTo>
                    <a:lnTo>
                      <a:pt x="649" y="1526"/>
                    </a:lnTo>
                    <a:lnTo>
                      <a:pt x="649" y="1526"/>
                    </a:lnTo>
                    <a:lnTo>
                      <a:pt x="651" y="1526"/>
                    </a:lnTo>
                    <a:lnTo>
                      <a:pt x="651" y="1524"/>
                    </a:lnTo>
                    <a:lnTo>
                      <a:pt x="653" y="1528"/>
                    </a:lnTo>
                    <a:lnTo>
                      <a:pt x="653" y="1534"/>
                    </a:lnTo>
                    <a:lnTo>
                      <a:pt x="653" y="1538"/>
                    </a:lnTo>
                    <a:lnTo>
                      <a:pt x="657" y="1540"/>
                    </a:lnTo>
                    <a:lnTo>
                      <a:pt x="655" y="1542"/>
                    </a:lnTo>
                    <a:lnTo>
                      <a:pt x="655" y="1544"/>
                    </a:lnTo>
                    <a:lnTo>
                      <a:pt x="655" y="1546"/>
                    </a:lnTo>
                    <a:lnTo>
                      <a:pt x="655" y="1548"/>
                    </a:lnTo>
                    <a:lnTo>
                      <a:pt x="657" y="1550"/>
                    </a:lnTo>
                    <a:lnTo>
                      <a:pt x="657" y="1552"/>
                    </a:lnTo>
                    <a:lnTo>
                      <a:pt x="657" y="1554"/>
                    </a:lnTo>
                    <a:lnTo>
                      <a:pt x="657" y="1558"/>
                    </a:lnTo>
                    <a:lnTo>
                      <a:pt x="661" y="1560"/>
                    </a:lnTo>
                    <a:lnTo>
                      <a:pt x="663" y="1562"/>
                    </a:lnTo>
                    <a:lnTo>
                      <a:pt x="665" y="1562"/>
                    </a:lnTo>
                    <a:lnTo>
                      <a:pt x="665" y="1564"/>
                    </a:lnTo>
                    <a:lnTo>
                      <a:pt x="665" y="1566"/>
                    </a:lnTo>
                    <a:lnTo>
                      <a:pt x="665" y="1566"/>
                    </a:lnTo>
                    <a:lnTo>
                      <a:pt x="665" y="1568"/>
                    </a:lnTo>
                    <a:lnTo>
                      <a:pt x="669" y="1566"/>
                    </a:lnTo>
                    <a:lnTo>
                      <a:pt x="671" y="1568"/>
                    </a:lnTo>
                    <a:lnTo>
                      <a:pt x="671" y="1572"/>
                    </a:lnTo>
                    <a:lnTo>
                      <a:pt x="669" y="1574"/>
                    </a:lnTo>
                    <a:lnTo>
                      <a:pt x="669" y="1574"/>
                    </a:lnTo>
                    <a:lnTo>
                      <a:pt x="673" y="1582"/>
                    </a:lnTo>
                    <a:lnTo>
                      <a:pt x="671" y="1584"/>
                    </a:lnTo>
                    <a:lnTo>
                      <a:pt x="671" y="1586"/>
                    </a:lnTo>
                    <a:lnTo>
                      <a:pt x="669" y="1588"/>
                    </a:lnTo>
                    <a:lnTo>
                      <a:pt x="667" y="1590"/>
                    </a:lnTo>
                    <a:lnTo>
                      <a:pt x="671" y="1598"/>
                    </a:lnTo>
                    <a:lnTo>
                      <a:pt x="673" y="1600"/>
                    </a:lnTo>
                    <a:lnTo>
                      <a:pt x="677" y="1600"/>
                    </a:lnTo>
                    <a:lnTo>
                      <a:pt x="679" y="1600"/>
                    </a:lnTo>
                    <a:lnTo>
                      <a:pt x="683" y="1602"/>
                    </a:lnTo>
                    <a:lnTo>
                      <a:pt x="685" y="1602"/>
                    </a:lnTo>
                    <a:lnTo>
                      <a:pt x="687" y="1606"/>
                    </a:lnTo>
                    <a:lnTo>
                      <a:pt x="687" y="1608"/>
                    </a:lnTo>
                    <a:lnTo>
                      <a:pt x="689" y="1610"/>
                    </a:lnTo>
                    <a:lnTo>
                      <a:pt x="689" y="1610"/>
                    </a:lnTo>
                    <a:lnTo>
                      <a:pt x="691" y="1610"/>
                    </a:lnTo>
                    <a:lnTo>
                      <a:pt x="693" y="1612"/>
                    </a:lnTo>
                    <a:lnTo>
                      <a:pt x="695" y="1616"/>
                    </a:lnTo>
                    <a:lnTo>
                      <a:pt x="697" y="1618"/>
                    </a:lnTo>
                    <a:lnTo>
                      <a:pt x="695" y="1620"/>
                    </a:lnTo>
                    <a:lnTo>
                      <a:pt x="695" y="1622"/>
                    </a:lnTo>
                    <a:lnTo>
                      <a:pt x="693" y="1622"/>
                    </a:lnTo>
                    <a:lnTo>
                      <a:pt x="691" y="1622"/>
                    </a:lnTo>
                    <a:lnTo>
                      <a:pt x="689" y="1620"/>
                    </a:lnTo>
                    <a:lnTo>
                      <a:pt x="683" y="1610"/>
                    </a:lnTo>
                    <a:lnTo>
                      <a:pt x="679" y="1610"/>
                    </a:lnTo>
                    <a:lnTo>
                      <a:pt x="681" y="1612"/>
                    </a:lnTo>
                    <a:lnTo>
                      <a:pt x="687" y="1624"/>
                    </a:lnTo>
                    <a:lnTo>
                      <a:pt x="697" y="1636"/>
                    </a:lnTo>
                    <a:lnTo>
                      <a:pt x="697" y="1640"/>
                    </a:lnTo>
                    <a:lnTo>
                      <a:pt x="699" y="1638"/>
                    </a:lnTo>
                    <a:lnTo>
                      <a:pt x="697" y="1636"/>
                    </a:lnTo>
                    <a:lnTo>
                      <a:pt x="697" y="1636"/>
                    </a:lnTo>
                    <a:lnTo>
                      <a:pt x="697" y="1634"/>
                    </a:lnTo>
                    <a:lnTo>
                      <a:pt x="697" y="1632"/>
                    </a:lnTo>
                    <a:lnTo>
                      <a:pt x="695" y="1630"/>
                    </a:lnTo>
                    <a:lnTo>
                      <a:pt x="693" y="1628"/>
                    </a:lnTo>
                    <a:lnTo>
                      <a:pt x="693" y="1626"/>
                    </a:lnTo>
                    <a:lnTo>
                      <a:pt x="693" y="1626"/>
                    </a:lnTo>
                    <a:lnTo>
                      <a:pt x="697" y="1628"/>
                    </a:lnTo>
                    <a:lnTo>
                      <a:pt x="705" y="1636"/>
                    </a:lnTo>
                    <a:lnTo>
                      <a:pt x="705" y="1638"/>
                    </a:lnTo>
                    <a:lnTo>
                      <a:pt x="701" y="1642"/>
                    </a:lnTo>
                    <a:lnTo>
                      <a:pt x="701" y="1644"/>
                    </a:lnTo>
                    <a:lnTo>
                      <a:pt x="701" y="1646"/>
                    </a:lnTo>
                    <a:lnTo>
                      <a:pt x="705" y="1650"/>
                    </a:lnTo>
                    <a:lnTo>
                      <a:pt x="709" y="1660"/>
                    </a:lnTo>
                    <a:lnTo>
                      <a:pt x="713" y="1666"/>
                    </a:lnTo>
                    <a:lnTo>
                      <a:pt x="713" y="1668"/>
                    </a:lnTo>
                    <a:lnTo>
                      <a:pt x="713" y="1690"/>
                    </a:lnTo>
                    <a:lnTo>
                      <a:pt x="715" y="1696"/>
                    </a:lnTo>
                    <a:lnTo>
                      <a:pt x="717" y="1702"/>
                    </a:lnTo>
                    <a:lnTo>
                      <a:pt x="717" y="1700"/>
                    </a:lnTo>
                    <a:lnTo>
                      <a:pt x="719" y="1696"/>
                    </a:lnTo>
                    <a:lnTo>
                      <a:pt x="721" y="1694"/>
                    </a:lnTo>
                    <a:lnTo>
                      <a:pt x="723" y="1694"/>
                    </a:lnTo>
                    <a:lnTo>
                      <a:pt x="723" y="1696"/>
                    </a:lnTo>
                    <a:lnTo>
                      <a:pt x="725" y="1698"/>
                    </a:lnTo>
                    <a:lnTo>
                      <a:pt x="725" y="1700"/>
                    </a:lnTo>
                    <a:lnTo>
                      <a:pt x="723" y="1700"/>
                    </a:lnTo>
                    <a:lnTo>
                      <a:pt x="721" y="1702"/>
                    </a:lnTo>
                    <a:lnTo>
                      <a:pt x="719" y="1708"/>
                    </a:lnTo>
                    <a:lnTo>
                      <a:pt x="717" y="1710"/>
                    </a:lnTo>
                    <a:lnTo>
                      <a:pt x="717" y="1710"/>
                    </a:lnTo>
                    <a:lnTo>
                      <a:pt x="715" y="1712"/>
                    </a:lnTo>
                    <a:lnTo>
                      <a:pt x="713" y="1720"/>
                    </a:lnTo>
                    <a:lnTo>
                      <a:pt x="709" y="1726"/>
                    </a:lnTo>
                    <a:lnTo>
                      <a:pt x="707" y="1730"/>
                    </a:lnTo>
                    <a:lnTo>
                      <a:pt x="707" y="1736"/>
                    </a:lnTo>
                    <a:lnTo>
                      <a:pt x="707" y="1738"/>
                    </a:lnTo>
                    <a:lnTo>
                      <a:pt x="705" y="1740"/>
                    </a:lnTo>
                    <a:lnTo>
                      <a:pt x="705" y="1742"/>
                    </a:lnTo>
                    <a:lnTo>
                      <a:pt x="707" y="1744"/>
                    </a:lnTo>
                    <a:lnTo>
                      <a:pt x="709" y="1740"/>
                    </a:lnTo>
                    <a:lnTo>
                      <a:pt x="709" y="1740"/>
                    </a:lnTo>
                    <a:lnTo>
                      <a:pt x="709" y="1742"/>
                    </a:lnTo>
                    <a:lnTo>
                      <a:pt x="707" y="1750"/>
                    </a:lnTo>
                    <a:lnTo>
                      <a:pt x="707" y="1752"/>
                    </a:lnTo>
                    <a:lnTo>
                      <a:pt x="707" y="1754"/>
                    </a:lnTo>
                    <a:lnTo>
                      <a:pt x="705" y="1754"/>
                    </a:lnTo>
                    <a:lnTo>
                      <a:pt x="705" y="1756"/>
                    </a:lnTo>
                    <a:lnTo>
                      <a:pt x="703" y="1758"/>
                    </a:lnTo>
                    <a:lnTo>
                      <a:pt x="703" y="1760"/>
                    </a:lnTo>
                    <a:lnTo>
                      <a:pt x="703" y="1762"/>
                    </a:lnTo>
                    <a:lnTo>
                      <a:pt x="703" y="1764"/>
                    </a:lnTo>
                    <a:lnTo>
                      <a:pt x="705" y="1788"/>
                    </a:lnTo>
                    <a:lnTo>
                      <a:pt x="705" y="1788"/>
                    </a:lnTo>
                    <a:lnTo>
                      <a:pt x="707" y="1790"/>
                    </a:lnTo>
                    <a:lnTo>
                      <a:pt x="707" y="1792"/>
                    </a:lnTo>
                    <a:lnTo>
                      <a:pt x="705" y="1792"/>
                    </a:lnTo>
                    <a:lnTo>
                      <a:pt x="705" y="1790"/>
                    </a:lnTo>
                    <a:lnTo>
                      <a:pt x="703" y="1786"/>
                    </a:lnTo>
                    <a:lnTo>
                      <a:pt x="701" y="1782"/>
                    </a:lnTo>
                    <a:lnTo>
                      <a:pt x="699" y="1780"/>
                    </a:lnTo>
                    <a:lnTo>
                      <a:pt x="693" y="1778"/>
                    </a:lnTo>
                    <a:lnTo>
                      <a:pt x="695" y="1782"/>
                    </a:lnTo>
                    <a:lnTo>
                      <a:pt x="697" y="1786"/>
                    </a:lnTo>
                    <a:lnTo>
                      <a:pt x="699" y="1790"/>
                    </a:lnTo>
                    <a:lnTo>
                      <a:pt x="705" y="1794"/>
                    </a:lnTo>
                    <a:lnTo>
                      <a:pt x="705" y="1794"/>
                    </a:lnTo>
                    <a:lnTo>
                      <a:pt x="705" y="1796"/>
                    </a:lnTo>
                    <a:lnTo>
                      <a:pt x="705" y="1796"/>
                    </a:lnTo>
                    <a:lnTo>
                      <a:pt x="707" y="1798"/>
                    </a:lnTo>
                    <a:lnTo>
                      <a:pt x="707" y="1798"/>
                    </a:lnTo>
                    <a:lnTo>
                      <a:pt x="707" y="1798"/>
                    </a:lnTo>
                    <a:lnTo>
                      <a:pt x="709" y="1802"/>
                    </a:lnTo>
                    <a:lnTo>
                      <a:pt x="709" y="1804"/>
                    </a:lnTo>
                    <a:lnTo>
                      <a:pt x="709" y="1804"/>
                    </a:lnTo>
                    <a:lnTo>
                      <a:pt x="709" y="1806"/>
                    </a:lnTo>
                    <a:lnTo>
                      <a:pt x="711" y="1806"/>
                    </a:lnTo>
                    <a:lnTo>
                      <a:pt x="711" y="1806"/>
                    </a:lnTo>
                    <a:lnTo>
                      <a:pt x="713" y="1808"/>
                    </a:lnTo>
                    <a:lnTo>
                      <a:pt x="713" y="1810"/>
                    </a:lnTo>
                    <a:lnTo>
                      <a:pt x="713" y="1810"/>
                    </a:lnTo>
                    <a:lnTo>
                      <a:pt x="715" y="1810"/>
                    </a:lnTo>
                    <a:lnTo>
                      <a:pt x="717" y="1810"/>
                    </a:lnTo>
                    <a:lnTo>
                      <a:pt x="717" y="1808"/>
                    </a:lnTo>
                    <a:lnTo>
                      <a:pt x="717" y="1804"/>
                    </a:lnTo>
                    <a:lnTo>
                      <a:pt x="719" y="1806"/>
                    </a:lnTo>
                    <a:lnTo>
                      <a:pt x="719" y="1810"/>
                    </a:lnTo>
                    <a:lnTo>
                      <a:pt x="719" y="1812"/>
                    </a:lnTo>
                    <a:lnTo>
                      <a:pt x="717" y="1812"/>
                    </a:lnTo>
                    <a:lnTo>
                      <a:pt x="715" y="1814"/>
                    </a:lnTo>
                    <a:lnTo>
                      <a:pt x="715" y="1816"/>
                    </a:lnTo>
                    <a:lnTo>
                      <a:pt x="715" y="1820"/>
                    </a:lnTo>
                    <a:lnTo>
                      <a:pt x="717" y="1824"/>
                    </a:lnTo>
                    <a:lnTo>
                      <a:pt x="717" y="1830"/>
                    </a:lnTo>
                    <a:lnTo>
                      <a:pt x="717" y="1834"/>
                    </a:lnTo>
                    <a:lnTo>
                      <a:pt x="719" y="1838"/>
                    </a:lnTo>
                    <a:lnTo>
                      <a:pt x="717" y="1840"/>
                    </a:lnTo>
                    <a:lnTo>
                      <a:pt x="719" y="1842"/>
                    </a:lnTo>
                    <a:lnTo>
                      <a:pt x="721" y="1844"/>
                    </a:lnTo>
                    <a:lnTo>
                      <a:pt x="723" y="1844"/>
                    </a:lnTo>
                    <a:lnTo>
                      <a:pt x="725" y="1840"/>
                    </a:lnTo>
                    <a:lnTo>
                      <a:pt x="727" y="1846"/>
                    </a:lnTo>
                    <a:lnTo>
                      <a:pt x="727" y="1848"/>
                    </a:lnTo>
                    <a:lnTo>
                      <a:pt x="725" y="1850"/>
                    </a:lnTo>
                    <a:lnTo>
                      <a:pt x="725" y="1850"/>
                    </a:lnTo>
                    <a:lnTo>
                      <a:pt x="727" y="1854"/>
                    </a:lnTo>
                    <a:lnTo>
                      <a:pt x="729" y="1858"/>
                    </a:lnTo>
                    <a:lnTo>
                      <a:pt x="729" y="1864"/>
                    </a:lnTo>
                    <a:lnTo>
                      <a:pt x="727" y="1868"/>
                    </a:lnTo>
                    <a:lnTo>
                      <a:pt x="715" y="1878"/>
                    </a:lnTo>
                    <a:lnTo>
                      <a:pt x="719" y="1886"/>
                    </a:lnTo>
                    <a:lnTo>
                      <a:pt x="721" y="1888"/>
                    </a:lnTo>
                    <a:lnTo>
                      <a:pt x="727" y="1896"/>
                    </a:lnTo>
                    <a:lnTo>
                      <a:pt x="729" y="1898"/>
                    </a:lnTo>
                    <a:lnTo>
                      <a:pt x="729" y="1900"/>
                    </a:lnTo>
                    <a:lnTo>
                      <a:pt x="727" y="1902"/>
                    </a:lnTo>
                    <a:lnTo>
                      <a:pt x="727" y="1902"/>
                    </a:lnTo>
                    <a:lnTo>
                      <a:pt x="727" y="1904"/>
                    </a:lnTo>
                    <a:lnTo>
                      <a:pt x="729" y="1908"/>
                    </a:lnTo>
                    <a:lnTo>
                      <a:pt x="729" y="1912"/>
                    </a:lnTo>
                    <a:lnTo>
                      <a:pt x="731" y="1914"/>
                    </a:lnTo>
                    <a:lnTo>
                      <a:pt x="737" y="1920"/>
                    </a:lnTo>
                    <a:lnTo>
                      <a:pt x="739" y="1920"/>
                    </a:lnTo>
                    <a:lnTo>
                      <a:pt x="739" y="1920"/>
                    </a:lnTo>
                    <a:lnTo>
                      <a:pt x="739" y="1922"/>
                    </a:lnTo>
                    <a:lnTo>
                      <a:pt x="739" y="1924"/>
                    </a:lnTo>
                    <a:lnTo>
                      <a:pt x="743" y="1926"/>
                    </a:lnTo>
                    <a:lnTo>
                      <a:pt x="743" y="1926"/>
                    </a:lnTo>
                    <a:lnTo>
                      <a:pt x="743" y="1930"/>
                    </a:lnTo>
                    <a:lnTo>
                      <a:pt x="743" y="1934"/>
                    </a:lnTo>
                    <a:lnTo>
                      <a:pt x="745" y="1936"/>
                    </a:lnTo>
                    <a:lnTo>
                      <a:pt x="749" y="1942"/>
                    </a:lnTo>
                    <a:lnTo>
                      <a:pt x="749" y="1944"/>
                    </a:lnTo>
                    <a:lnTo>
                      <a:pt x="749" y="1942"/>
                    </a:lnTo>
                    <a:lnTo>
                      <a:pt x="751" y="1942"/>
                    </a:lnTo>
                    <a:lnTo>
                      <a:pt x="753" y="1942"/>
                    </a:lnTo>
                    <a:lnTo>
                      <a:pt x="755" y="1942"/>
                    </a:lnTo>
                    <a:lnTo>
                      <a:pt x="755" y="1944"/>
                    </a:lnTo>
                    <a:lnTo>
                      <a:pt x="757" y="1944"/>
                    </a:lnTo>
                    <a:lnTo>
                      <a:pt x="757" y="1944"/>
                    </a:lnTo>
                    <a:lnTo>
                      <a:pt x="759" y="1946"/>
                    </a:lnTo>
                    <a:lnTo>
                      <a:pt x="759" y="1948"/>
                    </a:lnTo>
                    <a:lnTo>
                      <a:pt x="757" y="1948"/>
                    </a:lnTo>
                    <a:lnTo>
                      <a:pt x="755" y="1946"/>
                    </a:lnTo>
                    <a:lnTo>
                      <a:pt x="755" y="1946"/>
                    </a:lnTo>
                    <a:lnTo>
                      <a:pt x="755" y="1950"/>
                    </a:lnTo>
                    <a:lnTo>
                      <a:pt x="759" y="1954"/>
                    </a:lnTo>
                    <a:lnTo>
                      <a:pt x="763" y="1956"/>
                    </a:lnTo>
                    <a:lnTo>
                      <a:pt x="765" y="1958"/>
                    </a:lnTo>
                    <a:lnTo>
                      <a:pt x="767" y="1956"/>
                    </a:lnTo>
                    <a:lnTo>
                      <a:pt x="767" y="1956"/>
                    </a:lnTo>
                    <a:lnTo>
                      <a:pt x="769" y="1958"/>
                    </a:lnTo>
                    <a:lnTo>
                      <a:pt x="771" y="1960"/>
                    </a:lnTo>
                    <a:lnTo>
                      <a:pt x="771" y="1960"/>
                    </a:lnTo>
                    <a:lnTo>
                      <a:pt x="773" y="1960"/>
                    </a:lnTo>
                    <a:lnTo>
                      <a:pt x="773" y="1960"/>
                    </a:lnTo>
                    <a:lnTo>
                      <a:pt x="773" y="1962"/>
                    </a:lnTo>
                    <a:lnTo>
                      <a:pt x="773" y="1962"/>
                    </a:lnTo>
                    <a:lnTo>
                      <a:pt x="773" y="1964"/>
                    </a:lnTo>
                    <a:lnTo>
                      <a:pt x="771" y="1964"/>
                    </a:lnTo>
                    <a:lnTo>
                      <a:pt x="769" y="1964"/>
                    </a:lnTo>
                    <a:lnTo>
                      <a:pt x="769" y="1962"/>
                    </a:lnTo>
                    <a:lnTo>
                      <a:pt x="769" y="1962"/>
                    </a:lnTo>
                    <a:lnTo>
                      <a:pt x="767" y="1962"/>
                    </a:lnTo>
                    <a:lnTo>
                      <a:pt x="767" y="1964"/>
                    </a:lnTo>
                    <a:lnTo>
                      <a:pt x="767" y="1966"/>
                    </a:lnTo>
                    <a:lnTo>
                      <a:pt x="769" y="1966"/>
                    </a:lnTo>
                    <a:lnTo>
                      <a:pt x="769" y="1968"/>
                    </a:lnTo>
                    <a:lnTo>
                      <a:pt x="771" y="1970"/>
                    </a:lnTo>
                    <a:lnTo>
                      <a:pt x="773" y="1972"/>
                    </a:lnTo>
                    <a:lnTo>
                      <a:pt x="777" y="1974"/>
                    </a:lnTo>
                    <a:lnTo>
                      <a:pt x="775" y="1974"/>
                    </a:lnTo>
                    <a:lnTo>
                      <a:pt x="775" y="1972"/>
                    </a:lnTo>
                    <a:lnTo>
                      <a:pt x="773" y="1972"/>
                    </a:lnTo>
                    <a:lnTo>
                      <a:pt x="773" y="1970"/>
                    </a:lnTo>
                    <a:lnTo>
                      <a:pt x="775" y="1970"/>
                    </a:lnTo>
                    <a:lnTo>
                      <a:pt x="781" y="1972"/>
                    </a:lnTo>
                    <a:lnTo>
                      <a:pt x="779" y="1976"/>
                    </a:lnTo>
                    <a:lnTo>
                      <a:pt x="779" y="1980"/>
                    </a:lnTo>
                    <a:lnTo>
                      <a:pt x="785" y="1986"/>
                    </a:lnTo>
                    <a:lnTo>
                      <a:pt x="785" y="1986"/>
                    </a:lnTo>
                    <a:lnTo>
                      <a:pt x="785" y="1992"/>
                    </a:lnTo>
                    <a:lnTo>
                      <a:pt x="787" y="1994"/>
                    </a:lnTo>
                    <a:lnTo>
                      <a:pt x="791" y="1998"/>
                    </a:lnTo>
                    <a:lnTo>
                      <a:pt x="793" y="1998"/>
                    </a:lnTo>
                    <a:lnTo>
                      <a:pt x="795" y="1998"/>
                    </a:lnTo>
                    <a:lnTo>
                      <a:pt x="795" y="2000"/>
                    </a:lnTo>
                    <a:lnTo>
                      <a:pt x="793" y="2000"/>
                    </a:lnTo>
                    <a:lnTo>
                      <a:pt x="793" y="2000"/>
                    </a:lnTo>
                    <a:lnTo>
                      <a:pt x="791" y="2000"/>
                    </a:lnTo>
                    <a:lnTo>
                      <a:pt x="791" y="2002"/>
                    </a:lnTo>
                    <a:lnTo>
                      <a:pt x="793" y="2004"/>
                    </a:lnTo>
                    <a:lnTo>
                      <a:pt x="803" y="2020"/>
                    </a:lnTo>
                    <a:lnTo>
                      <a:pt x="807" y="2024"/>
                    </a:lnTo>
                    <a:lnTo>
                      <a:pt x="815" y="2030"/>
                    </a:lnTo>
                    <a:lnTo>
                      <a:pt x="819" y="2032"/>
                    </a:lnTo>
                    <a:lnTo>
                      <a:pt x="821" y="2038"/>
                    </a:lnTo>
                    <a:lnTo>
                      <a:pt x="823" y="2040"/>
                    </a:lnTo>
                    <a:lnTo>
                      <a:pt x="826" y="2040"/>
                    </a:lnTo>
                    <a:lnTo>
                      <a:pt x="828" y="2042"/>
                    </a:lnTo>
                    <a:lnTo>
                      <a:pt x="830" y="2042"/>
                    </a:lnTo>
                    <a:lnTo>
                      <a:pt x="844" y="2052"/>
                    </a:lnTo>
                    <a:lnTo>
                      <a:pt x="848" y="2052"/>
                    </a:lnTo>
                    <a:lnTo>
                      <a:pt x="848" y="2052"/>
                    </a:lnTo>
                    <a:lnTo>
                      <a:pt x="848" y="2052"/>
                    </a:lnTo>
                    <a:lnTo>
                      <a:pt x="846" y="2050"/>
                    </a:lnTo>
                    <a:lnTo>
                      <a:pt x="846" y="2050"/>
                    </a:lnTo>
                    <a:lnTo>
                      <a:pt x="844" y="2048"/>
                    </a:lnTo>
                    <a:lnTo>
                      <a:pt x="842" y="2048"/>
                    </a:lnTo>
                    <a:lnTo>
                      <a:pt x="842" y="2046"/>
                    </a:lnTo>
                    <a:lnTo>
                      <a:pt x="842" y="2044"/>
                    </a:lnTo>
                    <a:lnTo>
                      <a:pt x="846" y="2046"/>
                    </a:lnTo>
                    <a:lnTo>
                      <a:pt x="852" y="2050"/>
                    </a:lnTo>
                    <a:lnTo>
                      <a:pt x="856" y="2052"/>
                    </a:lnTo>
                    <a:lnTo>
                      <a:pt x="856" y="2050"/>
                    </a:lnTo>
                    <a:lnTo>
                      <a:pt x="860" y="2050"/>
                    </a:lnTo>
                    <a:lnTo>
                      <a:pt x="864" y="2048"/>
                    </a:lnTo>
                    <a:lnTo>
                      <a:pt x="868" y="2048"/>
                    </a:lnTo>
                    <a:lnTo>
                      <a:pt x="870" y="2050"/>
                    </a:lnTo>
                    <a:lnTo>
                      <a:pt x="874" y="2054"/>
                    </a:lnTo>
                    <a:lnTo>
                      <a:pt x="876" y="2056"/>
                    </a:lnTo>
                    <a:lnTo>
                      <a:pt x="876" y="2056"/>
                    </a:lnTo>
                    <a:lnTo>
                      <a:pt x="878" y="2058"/>
                    </a:lnTo>
                    <a:lnTo>
                      <a:pt x="880" y="2060"/>
                    </a:lnTo>
                    <a:lnTo>
                      <a:pt x="882" y="2062"/>
                    </a:lnTo>
                    <a:lnTo>
                      <a:pt x="882" y="2062"/>
                    </a:lnTo>
                    <a:lnTo>
                      <a:pt x="888" y="2064"/>
                    </a:lnTo>
                    <a:lnTo>
                      <a:pt x="892" y="2064"/>
                    </a:lnTo>
                    <a:lnTo>
                      <a:pt x="894" y="2066"/>
                    </a:lnTo>
                    <a:lnTo>
                      <a:pt x="892" y="2068"/>
                    </a:lnTo>
                    <a:lnTo>
                      <a:pt x="898" y="2076"/>
                    </a:lnTo>
                    <a:lnTo>
                      <a:pt x="906" y="2080"/>
                    </a:lnTo>
                    <a:lnTo>
                      <a:pt x="908" y="2082"/>
                    </a:lnTo>
                    <a:lnTo>
                      <a:pt x="912" y="2084"/>
                    </a:lnTo>
                    <a:lnTo>
                      <a:pt x="912" y="2084"/>
                    </a:lnTo>
                    <a:lnTo>
                      <a:pt x="916" y="2084"/>
                    </a:lnTo>
                    <a:lnTo>
                      <a:pt x="918" y="2086"/>
                    </a:lnTo>
                    <a:lnTo>
                      <a:pt x="922" y="2090"/>
                    </a:lnTo>
                    <a:lnTo>
                      <a:pt x="924" y="2092"/>
                    </a:lnTo>
                    <a:lnTo>
                      <a:pt x="924" y="2092"/>
                    </a:lnTo>
                    <a:lnTo>
                      <a:pt x="926" y="2094"/>
                    </a:lnTo>
                    <a:lnTo>
                      <a:pt x="928" y="2094"/>
                    </a:lnTo>
                    <a:lnTo>
                      <a:pt x="934" y="2098"/>
                    </a:lnTo>
                    <a:lnTo>
                      <a:pt x="938" y="2100"/>
                    </a:lnTo>
                    <a:lnTo>
                      <a:pt x="940" y="2102"/>
                    </a:lnTo>
                    <a:lnTo>
                      <a:pt x="940" y="2104"/>
                    </a:lnTo>
                    <a:lnTo>
                      <a:pt x="938" y="2110"/>
                    </a:lnTo>
                    <a:lnTo>
                      <a:pt x="938" y="2110"/>
                    </a:lnTo>
                    <a:lnTo>
                      <a:pt x="940" y="2112"/>
                    </a:lnTo>
                    <a:lnTo>
                      <a:pt x="944" y="2114"/>
                    </a:lnTo>
                    <a:lnTo>
                      <a:pt x="950" y="2124"/>
                    </a:lnTo>
                    <a:lnTo>
                      <a:pt x="954" y="2126"/>
                    </a:lnTo>
                    <a:lnTo>
                      <a:pt x="954" y="2126"/>
                    </a:lnTo>
                    <a:lnTo>
                      <a:pt x="954" y="2130"/>
                    </a:lnTo>
                    <a:lnTo>
                      <a:pt x="956" y="2134"/>
                    </a:lnTo>
                    <a:lnTo>
                      <a:pt x="958" y="2136"/>
                    </a:lnTo>
                    <a:lnTo>
                      <a:pt x="958" y="2132"/>
                    </a:lnTo>
                    <a:lnTo>
                      <a:pt x="958" y="2130"/>
                    </a:lnTo>
                    <a:lnTo>
                      <a:pt x="962" y="2130"/>
                    </a:lnTo>
                    <a:lnTo>
                      <a:pt x="970" y="2130"/>
                    </a:lnTo>
                    <a:lnTo>
                      <a:pt x="972" y="2132"/>
                    </a:lnTo>
                    <a:lnTo>
                      <a:pt x="980" y="2142"/>
                    </a:lnTo>
                    <a:lnTo>
                      <a:pt x="980" y="2146"/>
                    </a:lnTo>
                    <a:lnTo>
                      <a:pt x="982" y="2154"/>
                    </a:lnTo>
                    <a:lnTo>
                      <a:pt x="980" y="2162"/>
                    </a:lnTo>
                    <a:lnTo>
                      <a:pt x="976" y="2160"/>
                    </a:lnTo>
                    <a:lnTo>
                      <a:pt x="974" y="2158"/>
                    </a:lnTo>
                    <a:lnTo>
                      <a:pt x="974" y="2160"/>
                    </a:lnTo>
                    <a:lnTo>
                      <a:pt x="978" y="2162"/>
                    </a:lnTo>
                    <a:lnTo>
                      <a:pt x="986" y="2170"/>
                    </a:lnTo>
                    <a:lnTo>
                      <a:pt x="990" y="2172"/>
                    </a:lnTo>
                    <a:lnTo>
                      <a:pt x="1004" y="2176"/>
                    </a:lnTo>
                    <a:lnTo>
                      <a:pt x="1004" y="2178"/>
                    </a:lnTo>
                    <a:lnTo>
                      <a:pt x="1004" y="2180"/>
                    </a:lnTo>
                    <a:lnTo>
                      <a:pt x="1006" y="2182"/>
                    </a:lnTo>
                    <a:lnTo>
                      <a:pt x="1004" y="2184"/>
                    </a:lnTo>
                    <a:lnTo>
                      <a:pt x="1006" y="2184"/>
                    </a:lnTo>
                    <a:lnTo>
                      <a:pt x="1006" y="2186"/>
                    </a:lnTo>
                    <a:lnTo>
                      <a:pt x="1004" y="2188"/>
                    </a:lnTo>
                    <a:lnTo>
                      <a:pt x="1002" y="2190"/>
                    </a:lnTo>
                    <a:lnTo>
                      <a:pt x="1002" y="2190"/>
                    </a:lnTo>
                    <a:lnTo>
                      <a:pt x="1004" y="2194"/>
                    </a:lnTo>
                    <a:lnTo>
                      <a:pt x="1004" y="2196"/>
                    </a:lnTo>
                    <a:lnTo>
                      <a:pt x="1004" y="2196"/>
                    </a:lnTo>
                    <a:lnTo>
                      <a:pt x="1006" y="2200"/>
                    </a:lnTo>
                    <a:lnTo>
                      <a:pt x="1006" y="2200"/>
                    </a:lnTo>
                    <a:lnTo>
                      <a:pt x="1006" y="2202"/>
                    </a:lnTo>
                    <a:lnTo>
                      <a:pt x="1006" y="2204"/>
                    </a:lnTo>
                    <a:lnTo>
                      <a:pt x="1010" y="2206"/>
                    </a:lnTo>
                    <a:lnTo>
                      <a:pt x="1012" y="2208"/>
                    </a:lnTo>
                    <a:lnTo>
                      <a:pt x="1014" y="2210"/>
                    </a:lnTo>
                    <a:lnTo>
                      <a:pt x="1014" y="2214"/>
                    </a:lnTo>
                    <a:lnTo>
                      <a:pt x="1016" y="2214"/>
                    </a:lnTo>
                    <a:lnTo>
                      <a:pt x="1018" y="2216"/>
                    </a:lnTo>
                    <a:lnTo>
                      <a:pt x="1018" y="2218"/>
                    </a:lnTo>
                    <a:lnTo>
                      <a:pt x="1018" y="2220"/>
                    </a:lnTo>
                    <a:lnTo>
                      <a:pt x="1020" y="2222"/>
                    </a:lnTo>
                    <a:lnTo>
                      <a:pt x="1020" y="2224"/>
                    </a:lnTo>
                    <a:lnTo>
                      <a:pt x="1018" y="2228"/>
                    </a:lnTo>
                    <a:lnTo>
                      <a:pt x="1018" y="2230"/>
                    </a:lnTo>
                    <a:lnTo>
                      <a:pt x="1020" y="2232"/>
                    </a:lnTo>
                    <a:lnTo>
                      <a:pt x="1022" y="2234"/>
                    </a:lnTo>
                    <a:lnTo>
                      <a:pt x="1022" y="2240"/>
                    </a:lnTo>
                    <a:lnTo>
                      <a:pt x="1026" y="2242"/>
                    </a:lnTo>
                    <a:lnTo>
                      <a:pt x="1032" y="2244"/>
                    </a:lnTo>
                    <a:lnTo>
                      <a:pt x="1036" y="2244"/>
                    </a:lnTo>
                    <a:lnTo>
                      <a:pt x="1038" y="2246"/>
                    </a:lnTo>
                    <a:lnTo>
                      <a:pt x="1040" y="2248"/>
                    </a:lnTo>
                    <a:lnTo>
                      <a:pt x="1038" y="2252"/>
                    </a:lnTo>
                    <a:lnTo>
                      <a:pt x="1036" y="2256"/>
                    </a:lnTo>
                    <a:lnTo>
                      <a:pt x="1036" y="2258"/>
                    </a:lnTo>
                    <a:lnTo>
                      <a:pt x="1036" y="2260"/>
                    </a:lnTo>
                    <a:lnTo>
                      <a:pt x="1036" y="2262"/>
                    </a:lnTo>
                    <a:lnTo>
                      <a:pt x="1034" y="2264"/>
                    </a:lnTo>
                    <a:lnTo>
                      <a:pt x="1034" y="2266"/>
                    </a:lnTo>
                    <a:lnTo>
                      <a:pt x="1034" y="2268"/>
                    </a:lnTo>
                    <a:lnTo>
                      <a:pt x="1034" y="2270"/>
                    </a:lnTo>
                    <a:lnTo>
                      <a:pt x="1034" y="2270"/>
                    </a:lnTo>
                    <a:lnTo>
                      <a:pt x="1038" y="2274"/>
                    </a:lnTo>
                    <a:lnTo>
                      <a:pt x="1038" y="2276"/>
                    </a:lnTo>
                    <a:lnTo>
                      <a:pt x="1038" y="2280"/>
                    </a:lnTo>
                    <a:lnTo>
                      <a:pt x="1046" y="2282"/>
                    </a:lnTo>
                    <a:lnTo>
                      <a:pt x="1046" y="2282"/>
                    </a:lnTo>
                    <a:lnTo>
                      <a:pt x="1048" y="2284"/>
                    </a:lnTo>
                    <a:lnTo>
                      <a:pt x="1050" y="2284"/>
                    </a:lnTo>
                    <a:lnTo>
                      <a:pt x="1050" y="2286"/>
                    </a:lnTo>
                    <a:lnTo>
                      <a:pt x="1050" y="2288"/>
                    </a:lnTo>
                    <a:lnTo>
                      <a:pt x="1050" y="2288"/>
                    </a:lnTo>
                    <a:lnTo>
                      <a:pt x="1050" y="2290"/>
                    </a:lnTo>
                    <a:lnTo>
                      <a:pt x="1048" y="2292"/>
                    </a:lnTo>
                    <a:lnTo>
                      <a:pt x="1046" y="2304"/>
                    </a:lnTo>
                    <a:lnTo>
                      <a:pt x="1044" y="2306"/>
                    </a:lnTo>
                    <a:lnTo>
                      <a:pt x="1044" y="2308"/>
                    </a:lnTo>
                    <a:lnTo>
                      <a:pt x="1046" y="2310"/>
                    </a:lnTo>
                    <a:lnTo>
                      <a:pt x="1048" y="2312"/>
                    </a:lnTo>
                    <a:lnTo>
                      <a:pt x="1050" y="2316"/>
                    </a:lnTo>
                    <a:lnTo>
                      <a:pt x="1054" y="2324"/>
                    </a:lnTo>
                    <a:lnTo>
                      <a:pt x="1056" y="2326"/>
                    </a:lnTo>
                    <a:lnTo>
                      <a:pt x="1056" y="2328"/>
                    </a:lnTo>
                    <a:lnTo>
                      <a:pt x="1058" y="2328"/>
                    </a:lnTo>
                    <a:lnTo>
                      <a:pt x="1060" y="2330"/>
                    </a:lnTo>
                    <a:lnTo>
                      <a:pt x="1060" y="2328"/>
                    </a:lnTo>
                    <a:lnTo>
                      <a:pt x="1062" y="2328"/>
                    </a:lnTo>
                    <a:lnTo>
                      <a:pt x="1064" y="2326"/>
                    </a:lnTo>
                    <a:lnTo>
                      <a:pt x="1064" y="2328"/>
                    </a:lnTo>
                    <a:lnTo>
                      <a:pt x="1064" y="2328"/>
                    </a:lnTo>
                    <a:lnTo>
                      <a:pt x="1066" y="2328"/>
                    </a:lnTo>
                    <a:lnTo>
                      <a:pt x="1068" y="2330"/>
                    </a:lnTo>
                    <a:lnTo>
                      <a:pt x="1068" y="2332"/>
                    </a:lnTo>
                    <a:lnTo>
                      <a:pt x="1070" y="2334"/>
                    </a:lnTo>
                    <a:lnTo>
                      <a:pt x="1070" y="2336"/>
                    </a:lnTo>
                    <a:lnTo>
                      <a:pt x="1070" y="2336"/>
                    </a:lnTo>
                    <a:lnTo>
                      <a:pt x="1076" y="2340"/>
                    </a:lnTo>
                    <a:lnTo>
                      <a:pt x="1076" y="2342"/>
                    </a:lnTo>
                    <a:lnTo>
                      <a:pt x="1076" y="2342"/>
                    </a:lnTo>
                    <a:lnTo>
                      <a:pt x="1076" y="2344"/>
                    </a:lnTo>
                    <a:lnTo>
                      <a:pt x="1078" y="2344"/>
                    </a:lnTo>
                    <a:lnTo>
                      <a:pt x="1078" y="2347"/>
                    </a:lnTo>
                    <a:lnTo>
                      <a:pt x="1080" y="2347"/>
                    </a:lnTo>
                    <a:lnTo>
                      <a:pt x="1080" y="2347"/>
                    </a:lnTo>
                    <a:lnTo>
                      <a:pt x="1080" y="2348"/>
                    </a:lnTo>
                    <a:lnTo>
                      <a:pt x="1080" y="2356"/>
                    </a:lnTo>
                    <a:lnTo>
                      <a:pt x="1080" y="2359"/>
                    </a:lnTo>
                    <a:lnTo>
                      <a:pt x="1082" y="2359"/>
                    </a:lnTo>
                    <a:lnTo>
                      <a:pt x="1082" y="2365"/>
                    </a:lnTo>
                    <a:lnTo>
                      <a:pt x="1084" y="2366"/>
                    </a:lnTo>
                    <a:lnTo>
                      <a:pt x="1084" y="2368"/>
                    </a:lnTo>
                    <a:lnTo>
                      <a:pt x="1086" y="2372"/>
                    </a:lnTo>
                    <a:lnTo>
                      <a:pt x="1086" y="2374"/>
                    </a:lnTo>
                    <a:lnTo>
                      <a:pt x="1086" y="2378"/>
                    </a:lnTo>
                    <a:lnTo>
                      <a:pt x="1088" y="2377"/>
                    </a:lnTo>
                    <a:lnTo>
                      <a:pt x="1090" y="2378"/>
                    </a:lnTo>
                    <a:lnTo>
                      <a:pt x="1090" y="2378"/>
                    </a:lnTo>
                    <a:lnTo>
                      <a:pt x="1090" y="2380"/>
                    </a:lnTo>
                    <a:lnTo>
                      <a:pt x="1090" y="2383"/>
                    </a:lnTo>
                    <a:lnTo>
                      <a:pt x="1090" y="2384"/>
                    </a:lnTo>
                    <a:lnTo>
                      <a:pt x="1090" y="2384"/>
                    </a:lnTo>
                    <a:lnTo>
                      <a:pt x="1088" y="2386"/>
                    </a:lnTo>
                    <a:lnTo>
                      <a:pt x="1092" y="2386"/>
                    </a:lnTo>
                    <a:lnTo>
                      <a:pt x="1092" y="2386"/>
                    </a:lnTo>
                    <a:lnTo>
                      <a:pt x="1094" y="2386"/>
                    </a:lnTo>
                    <a:lnTo>
                      <a:pt x="1096" y="2389"/>
                    </a:lnTo>
                    <a:lnTo>
                      <a:pt x="1094" y="2389"/>
                    </a:lnTo>
                    <a:lnTo>
                      <a:pt x="1094" y="2390"/>
                    </a:lnTo>
                    <a:lnTo>
                      <a:pt x="1094" y="2390"/>
                    </a:lnTo>
                    <a:lnTo>
                      <a:pt x="1094" y="2390"/>
                    </a:lnTo>
                    <a:lnTo>
                      <a:pt x="1096" y="2392"/>
                    </a:lnTo>
                    <a:lnTo>
                      <a:pt x="1100" y="2392"/>
                    </a:lnTo>
                    <a:lnTo>
                      <a:pt x="1098" y="2395"/>
                    </a:lnTo>
                    <a:lnTo>
                      <a:pt x="1100" y="2396"/>
                    </a:lnTo>
                    <a:lnTo>
                      <a:pt x="1102" y="2396"/>
                    </a:lnTo>
                    <a:lnTo>
                      <a:pt x="1102" y="2396"/>
                    </a:lnTo>
                    <a:lnTo>
                      <a:pt x="1102" y="2398"/>
                    </a:lnTo>
                    <a:lnTo>
                      <a:pt x="1104" y="2401"/>
                    </a:lnTo>
                    <a:lnTo>
                      <a:pt x="1106" y="2404"/>
                    </a:lnTo>
                    <a:lnTo>
                      <a:pt x="1104" y="2408"/>
                    </a:lnTo>
                    <a:lnTo>
                      <a:pt x="1106" y="2410"/>
                    </a:lnTo>
                    <a:lnTo>
                      <a:pt x="1114" y="2416"/>
                    </a:lnTo>
                    <a:lnTo>
                      <a:pt x="1114" y="2419"/>
                    </a:lnTo>
                    <a:lnTo>
                      <a:pt x="1114" y="2419"/>
                    </a:lnTo>
                    <a:lnTo>
                      <a:pt x="1114" y="2420"/>
                    </a:lnTo>
                    <a:lnTo>
                      <a:pt x="1116" y="2420"/>
                    </a:lnTo>
                    <a:lnTo>
                      <a:pt x="1118" y="2422"/>
                    </a:lnTo>
                    <a:lnTo>
                      <a:pt x="1118" y="2422"/>
                    </a:lnTo>
                    <a:lnTo>
                      <a:pt x="1116" y="2425"/>
                    </a:lnTo>
                    <a:lnTo>
                      <a:pt x="1116" y="2426"/>
                    </a:lnTo>
                    <a:lnTo>
                      <a:pt x="1118" y="2431"/>
                    </a:lnTo>
                    <a:lnTo>
                      <a:pt x="1124" y="2438"/>
                    </a:lnTo>
                    <a:lnTo>
                      <a:pt x="1128" y="2440"/>
                    </a:lnTo>
                    <a:lnTo>
                      <a:pt x="1130" y="2443"/>
                    </a:lnTo>
                    <a:lnTo>
                      <a:pt x="1134" y="2446"/>
                    </a:lnTo>
                    <a:lnTo>
                      <a:pt x="1134" y="2451"/>
                    </a:lnTo>
                    <a:lnTo>
                      <a:pt x="1138" y="2451"/>
                    </a:lnTo>
                    <a:lnTo>
                      <a:pt x="1144" y="2455"/>
                    </a:lnTo>
                    <a:lnTo>
                      <a:pt x="1148" y="2452"/>
                    </a:lnTo>
                    <a:lnTo>
                      <a:pt x="1156" y="2461"/>
                    </a:lnTo>
                    <a:lnTo>
                      <a:pt x="1158" y="2463"/>
                    </a:lnTo>
                    <a:lnTo>
                      <a:pt x="1164" y="2469"/>
                    </a:lnTo>
                    <a:lnTo>
                      <a:pt x="1164" y="2470"/>
                    </a:lnTo>
                    <a:lnTo>
                      <a:pt x="1166" y="2470"/>
                    </a:lnTo>
                    <a:lnTo>
                      <a:pt x="1166" y="2470"/>
                    </a:lnTo>
                    <a:lnTo>
                      <a:pt x="1168" y="2469"/>
                    </a:lnTo>
                    <a:lnTo>
                      <a:pt x="1168" y="2469"/>
                    </a:lnTo>
                    <a:lnTo>
                      <a:pt x="1174" y="2476"/>
                    </a:lnTo>
                    <a:lnTo>
                      <a:pt x="1176" y="2476"/>
                    </a:lnTo>
                    <a:lnTo>
                      <a:pt x="1176" y="2479"/>
                    </a:lnTo>
                    <a:lnTo>
                      <a:pt x="1178" y="2481"/>
                    </a:lnTo>
                    <a:lnTo>
                      <a:pt x="1182" y="2479"/>
                    </a:lnTo>
                    <a:lnTo>
                      <a:pt x="1182" y="2481"/>
                    </a:lnTo>
                    <a:lnTo>
                      <a:pt x="1182" y="2481"/>
                    </a:lnTo>
                    <a:lnTo>
                      <a:pt x="1184" y="2485"/>
                    </a:lnTo>
                    <a:lnTo>
                      <a:pt x="1186" y="2488"/>
                    </a:lnTo>
                    <a:lnTo>
                      <a:pt x="1188" y="2491"/>
                    </a:lnTo>
                    <a:lnTo>
                      <a:pt x="1190" y="2493"/>
                    </a:lnTo>
                    <a:lnTo>
                      <a:pt x="1190" y="2493"/>
                    </a:lnTo>
                    <a:lnTo>
                      <a:pt x="1192" y="2493"/>
                    </a:lnTo>
                    <a:lnTo>
                      <a:pt x="1208" y="2506"/>
                    </a:lnTo>
                    <a:lnTo>
                      <a:pt x="1210" y="2509"/>
                    </a:lnTo>
                    <a:lnTo>
                      <a:pt x="1210" y="2511"/>
                    </a:lnTo>
                    <a:lnTo>
                      <a:pt x="1210" y="2511"/>
                    </a:lnTo>
                    <a:lnTo>
                      <a:pt x="1212" y="2511"/>
                    </a:lnTo>
                    <a:lnTo>
                      <a:pt x="1214" y="2511"/>
                    </a:lnTo>
                    <a:lnTo>
                      <a:pt x="1214" y="2512"/>
                    </a:lnTo>
                    <a:lnTo>
                      <a:pt x="1216" y="2512"/>
                    </a:lnTo>
                    <a:lnTo>
                      <a:pt x="1216" y="2517"/>
                    </a:lnTo>
                    <a:lnTo>
                      <a:pt x="1218" y="2521"/>
                    </a:lnTo>
                    <a:lnTo>
                      <a:pt x="1216" y="2529"/>
                    </a:lnTo>
                    <a:lnTo>
                      <a:pt x="1216" y="2530"/>
                    </a:lnTo>
                    <a:lnTo>
                      <a:pt x="1218" y="2535"/>
                    </a:lnTo>
                    <a:lnTo>
                      <a:pt x="1220" y="2557"/>
                    </a:lnTo>
                    <a:lnTo>
                      <a:pt x="1222" y="2563"/>
                    </a:lnTo>
                    <a:lnTo>
                      <a:pt x="1224" y="2567"/>
                    </a:lnTo>
                    <a:lnTo>
                      <a:pt x="1224" y="2579"/>
                    </a:lnTo>
                    <a:lnTo>
                      <a:pt x="1224" y="2581"/>
                    </a:lnTo>
                    <a:lnTo>
                      <a:pt x="1226" y="2579"/>
                    </a:lnTo>
                    <a:lnTo>
                      <a:pt x="1224" y="2569"/>
                    </a:lnTo>
                    <a:lnTo>
                      <a:pt x="1228" y="2567"/>
                    </a:lnTo>
                    <a:lnTo>
                      <a:pt x="1224" y="2561"/>
                    </a:lnTo>
                    <a:lnTo>
                      <a:pt x="1224" y="2559"/>
                    </a:lnTo>
                    <a:lnTo>
                      <a:pt x="1224" y="2557"/>
                    </a:lnTo>
                    <a:lnTo>
                      <a:pt x="1230" y="2559"/>
                    </a:lnTo>
                    <a:lnTo>
                      <a:pt x="1232" y="2561"/>
                    </a:lnTo>
                    <a:lnTo>
                      <a:pt x="1232" y="2563"/>
                    </a:lnTo>
                    <a:lnTo>
                      <a:pt x="1234" y="2569"/>
                    </a:lnTo>
                    <a:lnTo>
                      <a:pt x="1234" y="2571"/>
                    </a:lnTo>
                    <a:lnTo>
                      <a:pt x="1236" y="2575"/>
                    </a:lnTo>
                    <a:lnTo>
                      <a:pt x="1238" y="2577"/>
                    </a:lnTo>
                    <a:lnTo>
                      <a:pt x="1240" y="2579"/>
                    </a:lnTo>
                    <a:lnTo>
                      <a:pt x="1242" y="2579"/>
                    </a:lnTo>
                    <a:lnTo>
                      <a:pt x="1244" y="2579"/>
                    </a:lnTo>
                    <a:lnTo>
                      <a:pt x="1248" y="2579"/>
                    </a:lnTo>
                    <a:lnTo>
                      <a:pt x="1248" y="2581"/>
                    </a:lnTo>
                    <a:lnTo>
                      <a:pt x="1250" y="2583"/>
                    </a:lnTo>
                    <a:lnTo>
                      <a:pt x="1250" y="2585"/>
                    </a:lnTo>
                    <a:lnTo>
                      <a:pt x="1252" y="2585"/>
                    </a:lnTo>
                    <a:lnTo>
                      <a:pt x="1254" y="2587"/>
                    </a:lnTo>
                    <a:lnTo>
                      <a:pt x="1254" y="2595"/>
                    </a:lnTo>
                    <a:lnTo>
                      <a:pt x="1254" y="2599"/>
                    </a:lnTo>
                    <a:lnTo>
                      <a:pt x="1252" y="2605"/>
                    </a:lnTo>
                    <a:lnTo>
                      <a:pt x="1258" y="2613"/>
                    </a:lnTo>
                    <a:lnTo>
                      <a:pt x="1260" y="2611"/>
                    </a:lnTo>
                    <a:lnTo>
                      <a:pt x="1260" y="2613"/>
                    </a:lnTo>
                    <a:lnTo>
                      <a:pt x="1266" y="2615"/>
                    </a:lnTo>
                    <a:lnTo>
                      <a:pt x="1266" y="2615"/>
                    </a:lnTo>
                    <a:lnTo>
                      <a:pt x="1270" y="2619"/>
                    </a:lnTo>
                    <a:lnTo>
                      <a:pt x="1272" y="2623"/>
                    </a:lnTo>
                    <a:lnTo>
                      <a:pt x="1274" y="2623"/>
                    </a:lnTo>
                    <a:lnTo>
                      <a:pt x="1278" y="2627"/>
                    </a:lnTo>
                    <a:lnTo>
                      <a:pt x="1278" y="2629"/>
                    </a:lnTo>
                    <a:lnTo>
                      <a:pt x="1276" y="2631"/>
                    </a:lnTo>
                    <a:lnTo>
                      <a:pt x="1278" y="2633"/>
                    </a:lnTo>
                    <a:lnTo>
                      <a:pt x="1278" y="2635"/>
                    </a:lnTo>
                    <a:lnTo>
                      <a:pt x="1280" y="2637"/>
                    </a:lnTo>
                    <a:lnTo>
                      <a:pt x="1280" y="2639"/>
                    </a:lnTo>
                    <a:lnTo>
                      <a:pt x="1282" y="2639"/>
                    </a:lnTo>
                    <a:lnTo>
                      <a:pt x="1282" y="2641"/>
                    </a:lnTo>
                    <a:lnTo>
                      <a:pt x="1280" y="2649"/>
                    </a:lnTo>
                    <a:lnTo>
                      <a:pt x="1280" y="2655"/>
                    </a:lnTo>
                    <a:lnTo>
                      <a:pt x="1282" y="2659"/>
                    </a:lnTo>
                    <a:lnTo>
                      <a:pt x="1282" y="2663"/>
                    </a:lnTo>
                    <a:lnTo>
                      <a:pt x="1290" y="2671"/>
                    </a:lnTo>
                    <a:lnTo>
                      <a:pt x="1292" y="2673"/>
                    </a:lnTo>
                    <a:lnTo>
                      <a:pt x="1290" y="2679"/>
                    </a:lnTo>
                    <a:lnTo>
                      <a:pt x="1290" y="2681"/>
                    </a:lnTo>
                    <a:lnTo>
                      <a:pt x="1290" y="2687"/>
                    </a:lnTo>
                    <a:lnTo>
                      <a:pt x="1290" y="2687"/>
                    </a:lnTo>
                    <a:lnTo>
                      <a:pt x="1298" y="2685"/>
                    </a:lnTo>
                    <a:lnTo>
                      <a:pt x="1304" y="2683"/>
                    </a:lnTo>
                    <a:lnTo>
                      <a:pt x="1308" y="2679"/>
                    </a:lnTo>
                    <a:lnTo>
                      <a:pt x="1308" y="2677"/>
                    </a:lnTo>
                    <a:lnTo>
                      <a:pt x="1308" y="2675"/>
                    </a:lnTo>
                    <a:lnTo>
                      <a:pt x="1308" y="2671"/>
                    </a:lnTo>
                    <a:lnTo>
                      <a:pt x="1308" y="2669"/>
                    </a:lnTo>
                    <a:lnTo>
                      <a:pt x="1310" y="2669"/>
                    </a:lnTo>
                    <a:lnTo>
                      <a:pt x="1316" y="2667"/>
                    </a:lnTo>
                    <a:lnTo>
                      <a:pt x="1318" y="2667"/>
                    </a:lnTo>
                    <a:lnTo>
                      <a:pt x="1326" y="2663"/>
                    </a:lnTo>
                    <a:lnTo>
                      <a:pt x="1328" y="2661"/>
                    </a:lnTo>
                    <a:lnTo>
                      <a:pt x="1330" y="2657"/>
                    </a:lnTo>
                    <a:lnTo>
                      <a:pt x="1334" y="2647"/>
                    </a:lnTo>
                    <a:lnTo>
                      <a:pt x="1336" y="2645"/>
                    </a:lnTo>
                    <a:lnTo>
                      <a:pt x="1336" y="2641"/>
                    </a:lnTo>
                    <a:lnTo>
                      <a:pt x="1336" y="2639"/>
                    </a:lnTo>
                    <a:lnTo>
                      <a:pt x="1338" y="2637"/>
                    </a:lnTo>
                    <a:lnTo>
                      <a:pt x="1342" y="2639"/>
                    </a:lnTo>
                    <a:lnTo>
                      <a:pt x="1348" y="2641"/>
                    </a:lnTo>
                    <a:lnTo>
                      <a:pt x="1352" y="2639"/>
                    </a:lnTo>
                    <a:lnTo>
                      <a:pt x="1352" y="2637"/>
                    </a:lnTo>
                    <a:lnTo>
                      <a:pt x="1352" y="2633"/>
                    </a:lnTo>
                    <a:lnTo>
                      <a:pt x="1350" y="2631"/>
                    </a:lnTo>
                    <a:lnTo>
                      <a:pt x="1350" y="2629"/>
                    </a:lnTo>
                    <a:lnTo>
                      <a:pt x="1352" y="2625"/>
                    </a:lnTo>
                    <a:lnTo>
                      <a:pt x="1354" y="2623"/>
                    </a:lnTo>
                    <a:lnTo>
                      <a:pt x="1354" y="2623"/>
                    </a:lnTo>
                    <a:lnTo>
                      <a:pt x="1356" y="2623"/>
                    </a:lnTo>
                    <a:lnTo>
                      <a:pt x="1356" y="2621"/>
                    </a:lnTo>
                    <a:lnTo>
                      <a:pt x="1356" y="2619"/>
                    </a:lnTo>
                    <a:lnTo>
                      <a:pt x="1356" y="2617"/>
                    </a:lnTo>
                    <a:lnTo>
                      <a:pt x="1354" y="2615"/>
                    </a:lnTo>
                    <a:lnTo>
                      <a:pt x="1348" y="2613"/>
                    </a:lnTo>
                    <a:lnTo>
                      <a:pt x="1346" y="2613"/>
                    </a:lnTo>
                    <a:lnTo>
                      <a:pt x="1344" y="2607"/>
                    </a:lnTo>
                    <a:lnTo>
                      <a:pt x="1340" y="2601"/>
                    </a:lnTo>
                    <a:lnTo>
                      <a:pt x="1340" y="2597"/>
                    </a:lnTo>
                    <a:lnTo>
                      <a:pt x="1342" y="2593"/>
                    </a:lnTo>
                    <a:lnTo>
                      <a:pt x="1344" y="2587"/>
                    </a:lnTo>
                    <a:lnTo>
                      <a:pt x="1344" y="2585"/>
                    </a:lnTo>
                    <a:lnTo>
                      <a:pt x="1344" y="2581"/>
                    </a:lnTo>
                    <a:lnTo>
                      <a:pt x="1344" y="2577"/>
                    </a:lnTo>
                    <a:lnTo>
                      <a:pt x="1342" y="2575"/>
                    </a:lnTo>
                    <a:lnTo>
                      <a:pt x="1342" y="2571"/>
                    </a:lnTo>
                    <a:lnTo>
                      <a:pt x="1342" y="2569"/>
                    </a:lnTo>
                    <a:lnTo>
                      <a:pt x="1346" y="2561"/>
                    </a:lnTo>
                    <a:lnTo>
                      <a:pt x="1346" y="2559"/>
                    </a:lnTo>
                    <a:lnTo>
                      <a:pt x="1346" y="2555"/>
                    </a:lnTo>
                    <a:lnTo>
                      <a:pt x="1348" y="2551"/>
                    </a:lnTo>
                    <a:lnTo>
                      <a:pt x="1350" y="2548"/>
                    </a:lnTo>
                    <a:lnTo>
                      <a:pt x="1354" y="2547"/>
                    </a:lnTo>
                    <a:lnTo>
                      <a:pt x="1358" y="2547"/>
                    </a:lnTo>
                    <a:lnTo>
                      <a:pt x="1362" y="2545"/>
                    </a:lnTo>
                    <a:lnTo>
                      <a:pt x="1362" y="2541"/>
                    </a:lnTo>
                    <a:lnTo>
                      <a:pt x="1360" y="2539"/>
                    </a:lnTo>
                    <a:lnTo>
                      <a:pt x="1358" y="2535"/>
                    </a:lnTo>
                    <a:lnTo>
                      <a:pt x="1348" y="2533"/>
                    </a:lnTo>
                    <a:lnTo>
                      <a:pt x="1350" y="2533"/>
                    </a:lnTo>
                    <a:lnTo>
                      <a:pt x="1356" y="2523"/>
                    </a:lnTo>
                    <a:lnTo>
                      <a:pt x="1370" y="2511"/>
                    </a:lnTo>
                    <a:lnTo>
                      <a:pt x="1384" y="2503"/>
                    </a:lnTo>
                    <a:lnTo>
                      <a:pt x="1388" y="2500"/>
                    </a:lnTo>
                    <a:lnTo>
                      <a:pt x="1390" y="2500"/>
                    </a:lnTo>
                    <a:lnTo>
                      <a:pt x="1394" y="2500"/>
                    </a:lnTo>
                    <a:lnTo>
                      <a:pt x="1398" y="2500"/>
                    </a:lnTo>
                    <a:lnTo>
                      <a:pt x="1402" y="2503"/>
                    </a:lnTo>
                    <a:lnTo>
                      <a:pt x="1412" y="2506"/>
                    </a:lnTo>
                    <a:lnTo>
                      <a:pt x="1420" y="2511"/>
                    </a:lnTo>
                    <a:lnTo>
                      <a:pt x="1430" y="2523"/>
                    </a:lnTo>
                    <a:lnTo>
                      <a:pt x="1436" y="2529"/>
                    </a:lnTo>
                    <a:lnTo>
                      <a:pt x="1441" y="2529"/>
                    </a:lnTo>
                    <a:lnTo>
                      <a:pt x="1442" y="2529"/>
                    </a:lnTo>
                    <a:lnTo>
                      <a:pt x="1448" y="2529"/>
                    </a:lnTo>
                    <a:lnTo>
                      <a:pt x="1454" y="2529"/>
                    </a:lnTo>
                    <a:lnTo>
                      <a:pt x="1459" y="2529"/>
                    </a:lnTo>
                    <a:lnTo>
                      <a:pt x="1462" y="2529"/>
                    </a:lnTo>
                    <a:lnTo>
                      <a:pt x="1462" y="2529"/>
                    </a:lnTo>
                    <a:lnTo>
                      <a:pt x="1462" y="2530"/>
                    </a:lnTo>
                    <a:lnTo>
                      <a:pt x="1462" y="2533"/>
                    </a:lnTo>
                    <a:lnTo>
                      <a:pt x="1462" y="2535"/>
                    </a:lnTo>
                    <a:lnTo>
                      <a:pt x="1462" y="2535"/>
                    </a:lnTo>
                    <a:lnTo>
                      <a:pt x="1465" y="2536"/>
                    </a:lnTo>
                    <a:lnTo>
                      <a:pt x="1466" y="2536"/>
                    </a:lnTo>
                    <a:lnTo>
                      <a:pt x="1471" y="2536"/>
                    </a:lnTo>
                    <a:lnTo>
                      <a:pt x="1472" y="2533"/>
                    </a:lnTo>
                    <a:lnTo>
                      <a:pt x="1474" y="2530"/>
                    </a:lnTo>
                    <a:lnTo>
                      <a:pt x="1477" y="2527"/>
                    </a:lnTo>
                    <a:lnTo>
                      <a:pt x="1480" y="2527"/>
                    </a:lnTo>
                    <a:lnTo>
                      <a:pt x="1483" y="2527"/>
                    </a:lnTo>
                    <a:lnTo>
                      <a:pt x="1489" y="2529"/>
                    </a:lnTo>
                    <a:lnTo>
                      <a:pt x="1492" y="2530"/>
                    </a:lnTo>
                    <a:lnTo>
                      <a:pt x="1495" y="2529"/>
                    </a:lnTo>
                    <a:lnTo>
                      <a:pt x="1498" y="2524"/>
                    </a:lnTo>
                    <a:lnTo>
                      <a:pt x="1501" y="2521"/>
                    </a:lnTo>
                    <a:lnTo>
                      <a:pt x="1503" y="2521"/>
                    </a:lnTo>
                    <a:lnTo>
                      <a:pt x="1507" y="2521"/>
                    </a:lnTo>
                    <a:lnTo>
                      <a:pt x="1513" y="2523"/>
                    </a:lnTo>
                    <a:lnTo>
                      <a:pt x="1515" y="2523"/>
                    </a:lnTo>
                    <a:lnTo>
                      <a:pt x="1527" y="2518"/>
                    </a:lnTo>
                    <a:lnTo>
                      <a:pt x="1543" y="2517"/>
                    </a:lnTo>
                    <a:lnTo>
                      <a:pt x="1552" y="2518"/>
                    </a:lnTo>
                    <a:lnTo>
                      <a:pt x="1563" y="2521"/>
                    </a:lnTo>
                    <a:lnTo>
                      <a:pt x="1567" y="2521"/>
                    </a:lnTo>
                    <a:lnTo>
                      <a:pt x="1576" y="2517"/>
                    </a:lnTo>
                    <a:lnTo>
                      <a:pt x="1581" y="2515"/>
                    </a:lnTo>
                    <a:lnTo>
                      <a:pt x="1611" y="2517"/>
                    </a:lnTo>
                    <a:lnTo>
                      <a:pt x="1635" y="2517"/>
                    </a:lnTo>
                    <a:lnTo>
                      <a:pt x="1661" y="2517"/>
                    </a:lnTo>
                    <a:lnTo>
                      <a:pt x="1669" y="2518"/>
                    </a:lnTo>
                    <a:lnTo>
                      <a:pt x="1695" y="2533"/>
                    </a:lnTo>
                    <a:lnTo>
                      <a:pt x="1703" y="2535"/>
                    </a:lnTo>
                    <a:lnTo>
                      <a:pt x="1735" y="2539"/>
                    </a:lnTo>
                    <a:lnTo>
                      <a:pt x="1773" y="2542"/>
                    </a:lnTo>
                    <a:lnTo>
                      <a:pt x="1803" y="2545"/>
                    </a:lnTo>
                    <a:lnTo>
                      <a:pt x="1841" y="2548"/>
                    </a:lnTo>
                    <a:lnTo>
                      <a:pt x="1867" y="2545"/>
                    </a:lnTo>
                    <a:lnTo>
                      <a:pt x="1901" y="2541"/>
                    </a:lnTo>
                    <a:lnTo>
                      <a:pt x="1907" y="2545"/>
                    </a:lnTo>
                    <a:lnTo>
                      <a:pt x="1917" y="2559"/>
                    </a:lnTo>
                    <a:lnTo>
                      <a:pt x="1929" y="2575"/>
                    </a:lnTo>
                    <a:lnTo>
                      <a:pt x="1941" y="2593"/>
                    </a:lnTo>
                    <a:lnTo>
                      <a:pt x="1943" y="2593"/>
                    </a:lnTo>
                    <a:lnTo>
                      <a:pt x="1967" y="2595"/>
                    </a:lnTo>
                    <a:lnTo>
                      <a:pt x="1971" y="2595"/>
                    </a:lnTo>
                    <a:lnTo>
                      <a:pt x="1975" y="2593"/>
                    </a:lnTo>
                    <a:lnTo>
                      <a:pt x="1995" y="2581"/>
                    </a:lnTo>
                    <a:lnTo>
                      <a:pt x="2013" y="2571"/>
                    </a:lnTo>
                    <a:lnTo>
                      <a:pt x="2017" y="2565"/>
                    </a:lnTo>
                    <a:lnTo>
                      <a:pt x="2027" y="2535"/>
                    </a:lnTo>
                    <a:lnTo>
                      <a:pt x="2035" y="2515"/>
                    </a:lnTo>
                    <a:lnTo>
                      <a:pt x="2037" y="2511"/>
                    </a:lnTo>
                    <a:lnTo>
                      <a:pt x="2053" y="2491"/>
                    </a:lnTo>
                    <a:lnTo>
                      <a:pt x="2077" y="2463"/>
                    </a:lnTo>
                    <a:lnTo>
                      <a:pt x="2101" y="2432"/>
                    </a:lnTo>
                    <a:lnTo>
                      <a:pt x="2115" y="2414"/>
                    </a:lnTo>
                    <a:lnTo>
                      <a:pt x="2127" y="2398"/>
                    </a:lnTo>
                    <a:lnTo>
                      <a:pt x="2131" y="2396"/>
                    </a:lnTo>
                    <a:lnTo>
                      <a:pt x="2151" y="2386"/>
                    </a:lnTo>
                    <a:lnTo>
                      <a:pt x="2177" y="2372"/>
                    </a:lnTo>
                    <a:lnTo>
                      <a:pt x="2207" y="2356"/>
                    </a:lnTo>
                    <a:lnTo>
                      <a:pt x="2233" y="2344"/>
                    </a:lnTo>
                    <a:lnTo>
                      <a:pt x="2255" y="2332"/>
                    </a:lnTo>
                    <a:lnTo>
                      <a:pt x="2263" y="2328"/>
                    </a:lnTo>
                    <a:lnTo>
                      <a:pt x="2277" y="2322"/>
                    </a:lnTo>
                    <a:lnTo>
                      <a:pt x="2297" y="2320"/>
                    </a:lnTo>
                    <a:lnTo>
                      <a:pt x="2323" y="2316"/>
                    </a:lnTo>
                    <a:lnTo>
                      <a:pt x="2347" y="2314"/>
                    </a:lnTo>
                    <a:lnTo>
                      <a:pt x="2373" y="2310"/>
                    </a:lnTo>
                    <a:lnTo>
                      <a:pt x="2397" y="2306"/>
                    </a:lnTo>
                    <a:lnTo>
                      <a:pt x="2421" y="2302"/>
                    </a:lnTo>
                    <a:lnTo>
                      <a:pt x="2447" y="2300"/>
                    </a:lnTo>
                    <a:lnTo>
                      <a:pt x="2470" y="2296"/>
                    </a:lnTo>
                    <a:lnTo>
                      <a:pt x="2496" y="2292"/>
                    </a:lnTo>
                    <a:lnTo>
                      <a:pt x="2520" y="2288"/>
                    </a:lnTo>
                    <a:lnTo>
                      <a:pt x="2546" y="2284"/>
                    </a:lnTo>
                    <a:lnTo>
                      <a:pt x="2570" y="2282"/>
                    </a:lnTo>
                    <a:lnTo>
                      <a:pt x="2596" y="2278"/>
                    </a:lnTo>
                    <a:lnTo>
                      <a:pt x="2620" y="2274"/>
                    </a:lnTo>
                    <a:lnTo>
                      <a:pt x="2646" y="2270"/>
                    </a:lnTo>
                    <a:lnTo>
                      <a:pt x="2670" y="2268"/>
                    </a:lnTo>
                    <a:lnTo>
                      <a:pt x="2694" y="2264"/>
                    </a:lnTo>
                    <a:lnTo>
                      <a:pt x="2720" y="2260"/>
                    </a:lnTo>
                    <a:lnTo>
                      <a:pt x="2764" y="2244"/>
                    </a:lnTo>
                    <a:lnTo>
                      <a:pt x="2790" y="2236"/>
                    </a:lnTo>
                    <a:lnTo>
                      <a:pt x="2816" y="2226"/>
                    </a:lnTo>
                    <a:lnTo>
                      <a:pt x="2844" y="2216"/>
                    </a:lnTo>
                    <a:lnTo>
                      <a:pt x="2870" y="2208"/>
                    </a:lnTo>
                    <a:lnTo>
                      <a:pt x="2897" y="2198"/>
                    </a:lnTo>
                    <a:lnTo>
                      <a:pt x="2924" y="2188"/>
                    </a:lnTo>
                    <a:lnTo>
                      <a:pt x="2951" y="2180"/>
                    </a:lnTo>
                    <a:lnTo>
                      <a:pt x="2977" y="2170"/>
                    </a:lnTo>
                    <a:lnTo>
                      <a:pt x="3003" y="2160"/>
                    </a:lnTo>
                    <a:lnTo>
                      <a:pt x="3031" y="2152"/>
                    </a:lnTo>
                    <a:lnTo>
                      <a:pt x="3057" y="2142"/>
                    </a:lnTo>
                    <a:lnTo>
                      <a:pt x="3083" y="2132"/>
                    </a:lnTo>
                    <a:lnTo>
                      <a:pt x="3111" y="2124"/>
                    </a:lnTo>
                    <a:lnTo>
                      <a:pt x="3137" y="2114"/>
                    </a:lnTo>
                    <a:lnTo>
                      <a:pt x="3163" y="2104"/>
                    </a:lnTo>
                    <a:lnTo>
                      <a:pt x="3187" y="2096"/>
                    </a:lnTo>
                    <a:lnTo>
                      <a:pt x="3191" y="2080"/>
                    </a:lnTo>
                    <a:lnTo>
                      <a:pt x="3193" y="2078"/>
                    </a:lnTo>
                    <a:lnTo>
                      <a:pt x="3195" y="2068"/>
                    </a:lnTo>
                    <a:lnTo>
                      <a:pt x="3201" y="2054"/>
                    </a:lnTo>
                    <a:lnTo>
                      <a:pt x="3207" y="2036"/>
                    </a:lnTo>
                    <a:lnTo>
                      <a:pt x="3213" y="2014"/>
                    </a:lnTo>
                    <a:lnTo>
                      <a:pt x="3221" y="1988"/>
                    </a:lnTo>
                    <a:lnTo>
                      <a:pt x="3229" y="1962"/>
                    </a:lnTo>
                    <a:lnTo>
                      <a:pt x="3245" y="1908"/>
                    </a:lnTo>
                    <a:lnTo>
                      <a:pt x="3255" y="1882"/>
                    </a:lnTo>
                    <a:lnTo>
                      <a:pt x="3261" y="1858"/>
                    </a:lnTo>
                    <a:lnTo>
                      <a:pt x="3269" y="1834"/>
                    </a:lnTo>
                    <a:lnTo>
                      <a:pt x="3275" y="1816"/>
                    </a:lnTo>
                    <a:lnTo>
                      <a:pt x="3279" y="1802"/>
                    </a:lnTo>
                    <a:lnTo>
                      <a:pt x="3281" y="1792"/>
                    </a:lnTo>
                    <a:lnTo>
                      <a:pt x="3283" y="1790"/>
                    </a:lnTo>
                    <a:lnTo>
                      <a:pt x="3289" y="1768"/>
                    </a:lnTo>
                    <a:lnTo>
                      <a:pt x="3289" y="1764"/>
                    </a:lnTo>
                    <a:close/>
                  </a:path>
                </a:pathLst>
              </a:custGeom>
              <a:noFill/>
              <a:ln w="3175">
                <a:solidFill>
                  <a:schemeClr val="accent6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86DF2332-A01C-43EA-8B94-527FE62F6442}"/>
                  </a:ext>
                </a:extLst>
              </p:cNvPr>
              <p:cNvGrpSpPr/>
              <p:nvPr/>
            </p:nvGrpSpPr>
            <p:grpSpPr>
              <a:xfrm>
                <a:off x="1237656" y="3004428"/>
                <a:ext cx="3546842" cy="2684462"/>
                <a:chOff x="7864873" y="3104623"/>
                <a:chExt cx="3031778" cy="2309527"/>
              </a:xfrm>
              <a:solidFill>
                <a:schemeClr val="accent5">
                  <a:alpha val="50000"/>
                </a:schemeClr>
              </a:solidFill>
            </p:grpSpPr>
            <p:sp>
              <p:nvSpPr>
                <p:cNvPr id="62" name="Rectangle: Rounded Corners 29">
                  <a:extLst>
                    <a:ext uri="{FF2B5EF4-FFF2-40B4-BE49-F238E27FC236}">
                      <a16:creationId xmlns:a16="http://schemas.microsoft.com/office/drawing/2014/main" id="{445429C3-3EB5-4533-A7A3-B8BDBFC263C2}"/>
                    </a:ext>
                  </a:extLst>
                </p:cNvPr>
                <p:cNvSpPr/>
                <p:nvPr/>
              </p:nvSpPr>
              <p:spPr>
                <a:xfrm>
                  <a:off x="7864873" y="3104623"/>
                  <a:ext cx="3031778" cy="678855"/>
                </a:xfrm>
                <a:prstGeom prst="roundRect">
                  <a:avLst>
                    <a:gd name="adj" fmla="val 6437"/>
                  </a:avLst>
                </a:prstGeom>
                <a:solidFill>
                  <a:schemeClr val="bg1">
                    <a:lumMod val="95000"/>
                    <a:alpha val="8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7950" tIns="72009" rIns="107950" bIns="72009" rtlCol="0" anchor="ctr" anchorCtr="0">
                  <a:noAutofit/>
                </a:bodyPr>
                <a:lstStyle/>
                <a:p>
                  <a:pPr algn="ctr" rtl="1"/>
                  <a:r>
                    <a:rPr lang="en-US" b="1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Localize</a:t>
                  </a:r>
                  <a:r>
                    <a:rPr lang="en-US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 internet traffic and internet services</a:t>
                  </a:r>
                </a:p>
              </p:txBody>
            </p:sp>
            <p:sp>
              <p:nvSpPr>
                <p:cNvPr id="63" name="Rectangle: Rounded Corners 30">
                  <a:extLst>
                    <a:ext uri="{FF2B5EF4-FFF2-40B4-BE49-F238E27FC236}">
                      <a16:creationId xmlns:a16="http://schemas.microsoft.com/office/drawing/2014/main" id="{0C20555C-79B5-4496-8F46-DC121CE200F0}"/>
                    </a:ext>
                  </a:extLst>
                </p:cNvPr>
                <p:cNvSpPr/>
                <p:nvPr/>
              </p:nvSpPr>
              <p:spPr>
                <a:xfrm>
                  <a:off x="7864873" y="3919959"/>
                  <a:ext cx="3031778" cy="678855"/>
                </a:xfrm>
                <a:prstGeom prst="roundRect">
                  <a:avLst>
                    <a:gd name="adj" fmla="val 7574"/>
                  </a:avLst>
                </a:prstGeom>
                <a:solidFill>
                  <a:schemeClr val="bg1">
                    <a:lumMod val="95000"/>
                    <a:alpha val="8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7950" tIns="72009" rIns="107950" bIns="72009" rtlCol="0" anchor="ctr" anchorCtr="0">
                  <a:noAutofit/>
                </a:bodyPr>
                <a:lstStyle/>
                <a:p>
                  <a:pPr algn="ctr" rtl="1"/>
                  <a:r>
                    <a:rPr lang="en-US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Improve </a:t>
                  </a:r>
                  <a:r>
                    <a:rPr lang="en-US" b="1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quality</a:t>
                  </a:r>
                  <a:r>
                    <a:rPr lang="en-US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 and sustainability</a:t>
                  </a:r>
                </a:p>
              </p:txBody>
            </p:sp>
            <p:sp>
              <p:nvSpPr>
                <p:cNvPr id="64" name="Rectangle: Rounded Corners 31">
                  <a:extLst>
                    <a:ext uri="{FF2B5EF4-FFF2-40B4-BE49-F238E27FC236}">
                      <a16:creationId xmlns:a16="http://schemas.microsoft.com/office/drawing/2014/main" id="{7EEC04D3-CFC3-4465-BA74-6D273F13A168}"/>
                    </a:ext>
                  </a:extLst>
                </p:cNvPr>
                <p:cNvSpPr/>
                <p:nvPr/>
              </p:nvSpPr>
              <p:spPr>
                <a:xfrm>
                  <a:off x="7864873" y="4735295"/>
                  <a:ext cx="3031778" cy="678855"/>
                </a:xfrm>
                <a:prstGeom prst="roundRect">
                  <a:avLst>
                    <a:gd name="adj" fmla="val 7574"/>
                  </a:avLst>
                </a:prstGeom>
                <a:solidFill>
                  <a:schemeClr val="bg1">
                    <a:lumMod val="95000"/>
                    <a:alpha val="8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7950" tIns="72009" rIns="107950" bIns="72009" rtlCol="0" anchor="ctr" anchorCtr="0">
                  <a:noAutofit/>
                </a:bodyPr>
                <a:lstStyle/>
                <a:p>
                  <a:pPr algn="ctr" rtl="1"/>
                  <a:r>
                    <a:rPr lang="en-US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Become a </a:t>
                  </a:r>
                  <a:r>
                    <a:rPr lang="en-US" b="1" dirty="0">
                      <a:solidFill>
                        <a:schemeClr val="tx1"/>
                      </a:solidFill>
                      <a:sym typeface="Trebuchet MS" panose="020B0603020202020204" pitchFamily="34" charset="0"/>
                    </a:rPr>
                    <a:t>Digital Hub</a:t>
                  </a:r>
                </a:p>
              </p:txBody>
            </p:sp>
          </p:grpSp>
        </p:grpSp>
      </p:grpSp>
      <p:pic>
        <p:nvPicPr>
          <p:cNvPr id="32770" name="Picture 2" descr="ملف:KACST - Logo.png - ويكيبيديا">
            <a:extLst>
              <a:ext uri="{FF2B5EF4-FFF2-40B4-BE49-F238E27FC236}">
                <a16:creationId xmlns:a16="http://schemas.microsoft.com/office/drawing/2014/main" id="{A9ACFA86-3C37-4D7D-93FB-A76579B6F2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91"/>
          <a:stretch/>
        </p:blipFill>
        <p:spPr bwMode="auto">
          <a:xfrm>
            <a:off x="8487867" y="3298861"/>
            <a:ext cx="1008062" cy="976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2" name="Picture 4" descr="Tech">
            <a:extLst>
              <a:ext uri="{FF2B5EF4-FFF2-40B4-BE49-F238E27FC236}">
                <a16:creationId xmlns:a16="http://schemas.microsoft.com/office/drawing/2014/main" id="{0D4CD6B4-01C2-49B4-8C29-4F1BFADE44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881"/>
          <a:stretch/>
        </p:blipFill>
        <p:spPr bwMode="auto">
          <a:xfrm>
            <a:off x="9583372" y="3332289"/>
            <a:ext cx="1198407" cy="94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go.com.sa/Resources/2/go-logo.png">
            <a:extLst>
              <a:ext uri="{FF2B5EF4-FFF2-40B4-BE49-F238E27FC236}">
                <a16:creationId xmlns:a16="http://schemas.microsoft.com/office/drawing/2014/main" id="{39571A2F-D081-4DB7-B1F0-9C3E8067C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3596" y="5529898"/>
            <a:ext cx="690538" cy="32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Salam - Personal">
            <a:extLst>
              <a:ext uri="{FF2B5EF4-FFF2-40B4-BE49-F238E27FC236}">
                <a16:creationId xmlns:a16="http://schemas.microsoft.com/office/drawing/2014/main" id="{4A4CE958-5722-4492-983B-8AB72B644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2672" y="4995032"/>
            <a:ext cx="727864" cy="784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Minus Sign 29">
            <a:extLst>
              <a:ext uri="{FF2B5EF4-FFF2-40B4-BE49-F238E27FC236}">
                <a16:creationId xmlns:a16="http://schemas.microsoft.com/office/drawing/2014/main" id="{727C584F-0049-4E23-A2FF-B0BE05969776}"/>
              </a:ext>
            </a:extLst>
          </p:cNvPr>
          <p:cNvSpPr/>
          <p:nvPr/>
        </p:nvSpPr>
        <p:spPr>
          <a:xfrm>
            <a:off x="-2197210" y="938560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113523F-FD6F-4E97-8614-4E8F0E9F3462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8AA3B64-C5BC-4E62-9189-8BA86CB85CFE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2" descr="Download Mobily Logo PNG and Vector (PDF, SVG, Ai, EPS) Free">
            <a:extLst>
              <a:ext uri="{FF2B5EF4-FFF2-40B4-BE49-F238E27FC236}">
                <a16:creationId xmlns:a16="http://schemas.microsoft.com/office/drawing/2014/main" id="{E0CFCEC9-07E3-4715-9236-EC7F4B845D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7" t="7017" r="27946" b="26131"/>
          <a:stretch/>
        </p:blipFill>
        <p:spPr bwMode="auto">
          <a:xfrm>
            <a:off x="9530954" y="4827099"/>
            <a:ext cx="514745" cy="56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nistry of Communications and Information Technology ...">
            <a:extLst>
              <a:ext uri="{FF2B5EF4-FFF2-40B4-BE49-F238E27FC236}">
                <a16:creationId xmlns:a16="http://schemas.microsoft.com/office/drawing/2014/main" id="{5F0077DB-B340-45BA-8016-FCC736022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185" y="3043142"/>
            <a:ext cx="1415238" cy="1415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541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E0BC5-3E7B-4198-964F-218CC2844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384794-8DD5-473D-929A-9F174F1748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078" y="203498"/>
            <a:ext cx="1787363" cy="670626"/>
          </a:xfrm>
          <a:prstGeom prst="rect">
            <a:avLst/>
          </a:prstGeom>
        </p:spPr>
      </p:pic>
      <p:sp>
        <p:nvSpPr>
          <p:cNvPr id="65" name="Title 7">
            <a:extLst>
              <a:ext uri="{FF2B5EF4-FFF2-40B4-BE49-F238E27FC236}">
                <a16:creationId xmlns:a16="http://schemas.microsoft.com/office/drawing/2014/main" id="{2FE9664A-3AA2-403A-8266-F940AD3BC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4367"/>
            <a:ext cx="6796726" cy="646331"/>
          </a:xfrm>
        </p:spPr>
        <p:txBody>
          <a:bodyPr>
            <a:normAutofit/>
          </a:bodyPr>
          <a:lstStyle/>
          <a:p>
            <a:r>
              <a:rPr lang="en-US" sz="3600" b="1" dirty="0"/>
              <a:t>Our working principles </a:t>
            </a:r>
          </a:p>
        </p:txBody>
      </p:sp>
      <p:sp>
        <p:nvSpPr>
          <p:cNvPr id="158" name="Rectangle: Rounded Corners 10">
            <a:extLst>
              <a:ext uri="{FF2B5EF4-FFF2-40B4-BE49-F238E27FC236}">
                <a16:creationId xmlns:a16="http://schemas.microsoft.com/office/drawing/2014/main" id="{818D31CE-CE6B-485A-A14F-CFF9F29ACE93}"/>
              </a:ext>
            </a:extLst>
          </p:cNvPr>
          <p:cNvSpPr/>
          <p:nvPr/>
        </p:nvSpPr>
        <p:spPr>
          <a:xfrm>
            <a:off x="715989" y="3429001"/>
            <a:ext cx="2458511" cy="2099226"/>
          </a:xfrm>
          <a:prstGeom prst="roundRect">
            <a:avLst>
              <a:gd name="adj" fmla="val 8459"/>
            </a:avLst>
          </a:prstGeom>
          <a:ln w="19050">
            <a:solidFill>
              <a:srgbClr val="198B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Providing  the peering services independently of other </a:t>
            </a:r>
            <a:r>
              <a:rPr lang="en-US" b="1" u="sng" dirty="0">
                <a:solidFill>
                  <a:schemeClr val="tx1"/>
                </a:solidFill>
                <a:cs typeface="29LT Bukra Regular" panose="000B0903020204020204" pitchFamily="34" charset="-78"/>
              </a:rPr>
              <a:t>connectivity</a:t>
            </a: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 services </a:t>
            </a:r>
          </a:p>
        </p:txBody>
      </p:sp>
      <p:sp>
        <p:nvSpPr>
          <p:cNvPr id="159" name="Rectangle: Rounded Corners 22">
            <a:extLst>
              <a:ext uri="{FF2B5EF4-FFF2-40B4-BE49-F238E27FC236}">
                <a16:creationId xmlns:a16="http://schemas.microsoft.com/office/drawing/2014/main" id="{8C49484F-D7AC-40EE-BE2D-C4870C621734}"/>
              </a:ext>
            </a:extLst>
          </p:cNvPr>
          <p:cNvSpPr/>
          <p:nvPr/>
        </p:nvSpPr>
        <p:spPr>
          <a:xfrm>
            <a:off x="3381430" y="3429001"/>
            <a:ext cx="2458511" cy="2075350"/>
          </a:xfrm>
          <a:prstGeom prst="roundRect">
            <a:avLst>
              <a:gd name="adj" fmla="val 8459"/>
            </a:avLst>
          </a:prstGeom>
          <a:ln w="19050">
            <a:solidFill>
              <a:srgbClr val="198B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Maintain a level playing field that allows every operator to provide their services</a:t>
            </a:r>
            <a:endParaRPr lang="ar-SA" b="1" dirty="0">
              <a:solidFill>
                <a:schemeClr val="tx1"/>
              </a:solidFill>
              <a:cs typeface="29LT Bukra Regular" panose="000B0903020204020204" pitchFamily="34" charset="-78"/>
            </a:endParaRPr>
          </a:p>
        </p:txBody>
      </p:sp>
      <p:sp>
        <p:nvSpPr>
          <p:cNvPr id="160" name="Rectangle: Rounded Corners 23">
            <a:extLst>
              <a:ext uri="{FF2B5EF4-FFF2-40B4-BE49-F238E27FC236}">
                <a16:creationId xmlns:a16="http://schemas.microsoft.com/office/drawing/2014/main" id="{079C58F8-FCDD-4DBC-BAEA-F363AC11B79D}"/>
              </a:ext>
            </a:extLst>
          </p:cNvPr>
          <p:cNvSpPr/>
          <p:nvPr/>
        </p:nvSpPr>
        <p:spPr>
          <a:xfrm>
            <a:off x="6046872" y="3429001"/>
            <a:ext cx="2458511" cy="2075350"/>
          </a:xfrm>
          <a:prstGeom prst="roundRect">
            <a:avLst>
              <a:gd name="adj" fmla="val 8459"/>
            </a:avLst>
          </a:prstGeom>
          <a:ln w="19050">
            <a:solidFill>
              <a:srgbClr val="198B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Develop Internet performance visibility tools. </a:t>
            </a:r>
          </a:p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E.g. (looking-glass, Reports)</a:t>
            </a:r>
          </a:p>
        </p:txBody>
      </p:sp>
      <p:sp>
        <p:nvSpPr>
          <p:cNvPr id="161" name="Rectangle: Rounded Corners 24">
            <a:extLst>
              <a:ext uri="{FF2B5EF4-FFF2-40B4-BE49-F238E27FC236}">
                <a16:creationId xmlns:a16="http://schemas.microsoft.com/office/drawing/2014/main" id="{7EB9DD7C-AE6E-4C53-B934-DC6ECABA2961}"/>
              </a:ext>
            </a:extLst>
          </p:cNvPr>
          <p:cNvSpPr/>
          <p:nvPr/>
        </p:nvSpPr>
        <p:spPr>
          <a:xfrm>
            <a:off x="8719822" y="3429000"/>
            <a:ext cx="2458511" cy="2051475"/>
          </a:xfrm>
          <a:prstGeom prst="roundRect">
            <a:avLst>
              <a:gd name="adj" fmla="val 8459"/>
            </a:avLst>
          </a:prstGeom>
          <a:ln w="19050">
            <a:solidFill>
              <a:srgbClr val="198B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Activating the role of members.</a:t>
            </a:r>
          </a:p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Active participation in the global events</a:t>
            </a:r>
          </a:p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tx1"/>
                </a:solidFill>
                <a:cs typeface="29LT Bukra Regular" panose="000B0903020204020204" pitchFamily="34" charset="-78"/>
              </a:rPr>
              <a:t>Awareness Sessions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6E3FB06B-FD12-4071-944F-851973A4832E}"/>
              </a:ext>
            </a:extLst>
          </p:cNvPr>
          <p:cNvSpPr/>
          <p:nvPr/>
        </p:nvSpPr>
        <p:spPr>
          <a:xfrm>
            <a:off x="3381430" y="2883986"/>
            <a:ext cx="245851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ea typeface="+mj-ea"/>
                <a:cs typeface="+mj-cs"/>
              </a:rPr>
              <a:t>Fairness</a:t>
            </a:r>
            <a:endParaRPr lang="en-GB" sz="2400" b="1" dirty="0">
              <a:ea typeface="+mj-ea"/>
              <a:cs typeface="+mj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5FA2D043-97D9-490F-B539-89A489B64856}"/>
              </a:ext>
            </a:extLst>
          </p:cNvPr>
          <p:cNvSpPr/>
          <p:nvPr/>
        </p:nvSpPr>
        <p:spPr>
          <a:xfrm>
            <a:off x="6046871" y="2883987"/>
            <a:ext cx="245851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ea typeface="+mj-ea"/>
                <a:cs typeface="+mj-cs"/>
              </a:rPr>
              <a:t>Quality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6D3BEBA-9946-4E2E-904C-7CCC5E91F762}"/>
              </a:ext>
            </a:extLst>
          </p:cNvPr>
          <p:cNvSpPr/>
          <p:nvPr/>
        </p:nvSpPr>
        <p:spPr>
          <a:xfrm>
            <a:off x="8752944" y="2883986"/>
            <a:ext cx="2458511" cy="76944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ea typeface="+mj-ea"/>
                <a:cs typeface="+mj-cs"/>
              </a:rPr>
              <a:t>Collaboration</a:t>
            </a:r>
            <a:endParaRPr lang="en-GB" sz="2400" b="1" dirty="0">
              <a:ea typeface="+mj-ea"/>
              <a:cs typeface="+mj-cs"/>
            </a:endParaRPr>
          </a:p>
          <a:p>
            <a:pPr algn="ctr"/>
            <a:endParaRPr lang="en-GB" sz="2000" b="1" dirty="0">
              <a:ea typeface="+mj-ea"/>
              <a:cs typeface="+mj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716546EA-87EE-4B13-B898-9BA5964DA7EC}"/>
              </a:ext>
            </a:extLst>
          </p:cNvPr>
          <p:cNvSpPr/>
          <p:nvPr/>
        </p:nvSpPr>
        <p:spPr>
          <a:xfrm>
            <a:off x="715989" y="2883987"/>
            <a:ext cx="245851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ea typeface="+mj-ea"/>
                <a:cs typeface="+mj-cs"/>
              </a:rPr>
              <a:t>Neutrality</a:t>
            </a:r>
            <a:endParaRPr lang="en-GB" sz="2400" b="1" dirty="0">
              <a:ea typeface="+mj-ea"/>
              <a:cs typeface="+mj-cs"/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DBD56E31-5EB7-4F10-8E88-70563FA2A37B}"/>
              </a:ext>
            </a:extLst>
          </p:cNvPr>
          <p:cNvGrpSpPr/>
          <p:nvPr/>
        </p:nvGrpSpPr>
        <p:grpSpPr>
          <a:xfrm>
            <a:off x="1553902" y="1997400"/>
            <a:ext cx="782684" cy="775422"/>
            <a:chOff x="5392149" y="2697974"/>
            <a:chExt cx="1446482" cy="1477901"/>
          </a:xfrm>
          <a:solidFill>
            <a:srgbClr val="22A385"/>
          </a:solidFill>
        </p:grpSpPr>
        <p:sp>
          <p:nvSpPr>
            <p:cNvPr id="182" name="Freeform 10">
              <a:extLst>
                <a:ext uri="{FF2B5EF4-FFF2-40B4-BE49-F238E27FC236}">
                  <a16:creationId xmlns:a16="http://schemas.microsoft.com/office/drawing/2014/main" id="{186DEC85-5D1D-48E5-A26F-C19CD58D27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149" y="2697974"/>
              <a:ext cx="1446482" cy="1477901"/>
            </a:xfrm>
            <a:custGeom>
              <a:avLst/>
              <a:gdLst>
                <a:gd name="T0" fmla="*/ 1519 w 1900"/>
                <a:gd name="T1" fmla="*/ 1024 h 1943"/>
                <a:gd name="T2" fmla="*/ 1900 w 1900"/>
                <a:gd name="T3" fmla="*/ 1002 h 1943"/>
                <a:gd name="T4" fmla="*/ 1519 w 1900"/>
                <a:gd name="T5" fmla="*/ 980 h 1943"/>
                <a:gd name="T6" fmla="*/ 1164 w 1900"/>
                <a:gd name="T7" fmla="*/ 690 h 1943"/>
                <a:gd name="T8" fmla="*/ 1356 w 1900"/>
                <a:gd name="T9" fmla="*/ 354 h 1943"/>
                <a:gd name="T10" fmla="*/ 1356 w 1900"/>
                <a:gd name="T11" fmla="*/ 44 h 1943"/>
                <a:gd name="T12" fmla="*/ 1274 w 1900"/>
                <a:gd name="T13" fmla="*/ 330 h 1943"/>
                <a:gd name="T14" fmla="*/ 1003 w 1900"/>
                <a:gd name="T15" fmla="*/ 651 h 1943"/>
                <a:gd name="T16" fmla="*/ 445 w 1900"/>
                <a:gd name="T17" fmla="*/ 413 h 1943"/>
                <a:gd name="T18" fmla="*/ 252 w 1900"/>
                <a:gd name="T19" fmla="*/ 0 h 1943"/>
                <a:gd name="T20" fmla="*/ 252 w 1900"/>
                <a:gd name="T21" fmla="*/ 504 h 1943"/>
                <a:gd name="T22" fmla="*/ 739 w 1900"/>
                <a:gd name="T23" fmla="*/ 770 h 1943"/>
                <a:gd name="T24" fmla="*/ 736 w 1900"/>
                <a:gd name="T25" fmla="*/ 1230 h 1943"/>
                <a:gd name="T26" fmla="*/ 359 w 1900"/>
                <a:gd name="T27" fmla="*/ 1314 h 1943"/>
                <a:gd name="T28" fmla="*/ 359 w 1900"/>
                <a:gd name="T29" fmla="*/ 1943 h 1943"/>
                <a:gd name="T30" fmla="*/ 599 w 1900"/>
                <a:gd name="T31" fmla="*/ 1426 h 1943"/>
                <a:gd name="T32" fmla="*/ 1003 w 1900"/>
                <a:gd name="T33" fmla="*/ 1353 h 1943"/>
                <a:gd name="T34" fmla="*/ 1343 w 1900"/>
                <a:gd name="T35" fmla="*/ 1449 h 1943"/>
                <a:gd name="T36" fmla="*/ 1519 w 1900"/>
                <a:gd name="T37" fmla="*/ 1880 h 1943"/>
                <a:gd name="T38" fmla="*/ 1519 w 1900"/>
                <a:gd name="T39" fmla="*/ 1377 h 1943"/>
                <a:gd name="T40" fmla="*/ 1242 w 1900"/>
                <a:gd name="T41" fmla="*/ 1258 h 1943"/>
                <a:gd name="T42" fmla="*/ 1563 w 1900"/>
                <a:gd name="T43" fmla="*/ 980 h 1943"/>
                <a:gd name="T44" fmla="*/ 1856 w 1900"/>
                <a:gd name="T45" fmla="*/ 1002 h 1943"/>
                <a:gd name="T46" fmla="*/ 1563 w 1900"/>
                <a:gd name="T47" fmla="*/ 1024 h 1943"/>
                <a:gd name="T48" fmla="*/ 1563 w 1900"/>
                <a:gd name="T49" fmla="*/ 980 h 1943"/>
                <a:gd name="T50" fmla="*/ 1356 w 1900"/>
                <a:gd name="T51" fmla="*/ 88 h 1943"/>
                <a:gd name="T52" fmla="*/ 1356 w 1900"/>
                <a:gd name="T53" fmla="*/ 310 h 1943"/>
                <a:gd name="T54" fmla="*/ 1292 w 1900"/>
                <a:gd name="T55" fmla="*/ 289 h 1943"/>
                <a:gd name="T56" fmla="*/ 252 w 1900"/>
                <a:gd name="T57" fmla="*/ 460 h 1943"/>
                <a:gd name="T58" fmla="*/ 252 w 1900"/>
                <a:gd name="T59" fmla="*/ 44 h 1943"/>
                <a:gd name="T60" fmla="*/ 414 w 1900"/>
                <a:gd name="T61" fmla="*/ 382 h 1943"/>
                <a:gd name="T62" fmla="*/ 252 w 1900"/>
                <a:gd name="T63" fmla="*/ 460 h 1943"/>
                <a:gd name="T64" fmla="*/ 359 w 1900"/>
                <a:gd name="T65" fmla="*/ 1899 h 1943"/>
                <a:gd name="T66" fmla="*/ 359 w 1900"/>
                <a:gd name="T67" fmla="*/ 1358 h 1943"/>
                <a:gd name="T68" fmla="*/ 567 w 1900"/>
                <a:gd name="T69" fmla="*/ 1456 h 1943"/>
                <a:gd name="T70" fmla="*/ 1405 w 1900"/>
                <a:gd name="T71" fmla="*/ 1455 h 1943"/>
                <a:gd name="T72" fmla="*/ 1727 w 1900"/>
                <a:gd name="T73" fmla="*/ 1629 h 1943"/>
                <a:gd name="T74" fmla="*/ 1311 w 1900"/>
                <a:gd name="T75" fmla="*/ 1629 h 1943"/>
                <a:gd name="T76" fmla="*/ 1405 w 1900"/>
                <a:gd name="T77" fmla="*/ 1455 h 1943"/>
                <a:gd name="T78" fmla="*/ 1180 w 1900"/>
                <a:gd name="T79" fmla="*/ 1252 h 1943"/>
                <a:gd name="T80" fmla="*/ 798 w 1900"/>
                <a:gd name="T81" fmla="*/ 1231 h 1943"/>
                <a:gd name="T82" fmla="*/ 695 w 1900"/>
                <a:gd name="T83" fmla="*/ 1002 h 1943"/>
                <a:gd name="T84" fmla="*/ 802 w 1900"/>
                <a:gd name="T85" fmla="*/ 770 h 1943"/>
                <a:gd name="T86" fmla="*/ 1106 w 1900"/>
                <a:gd name="T87" fmla="*/ 713 h 1943"/>
                <a:gd name="T88" fmla="*/ 1309 w 1900"/>
                <a:gd name="T89" fmla="*/ 980 h 1943"/>
                <a:gd name="T90" fmla="*/ 1309 w 1900"/>
                <a:gd name="T91" fmla="*/ 1024 h 1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00" h="1943">
                  <a:moveTo>
                    <a:pt x="1353" y="1024"/>
                  </a:moveTo>
                  <a:cubicBezTo>
                    <a:pt x="1519" y="1024"/>
                    <a:pt x="1519" y="1024"/>
                    <a:pt x="1519" y="1024"/>
                  </a:cubicBezTo>
                  <a:cubicBezTo>
                    <a:pt x="1530" y="1119"/>
                    <a:pt x="1611" y="1193"/>
                    <a:pt x="1709" y="1193"/>
                  </a:cubicBezTo>
                  <a:cubicBezTo>
                    <a:pt x="1814" y="1193"/>
                    <a:pt x="1900" y="1107"/>
                    <a:pt x="1900" y="1002"/>
                  </a:cubicBezTo>
                  <a:cubicBezTo>
                    <a:pt x="1900" y="897"/>
                    <a:pt x="1814" y="811"/>
                    <a:pt x="1709" y="811"/>
                  </a:cubicBezTo>
                  <a:cubicBezTo>
                    <a:pt x="1611" y="811"/>
                    <a:pt x="1530" y="885"/>
                    <a:pt x="1519" y="980"/>
                  </a:cubicBezTo>
                  <a:cubicBezTo>
                    <a:pt x="1353" y="980"/>
                    <a:pt x="1353" y="980"/>
                    <a:pt x="1353" y="980"/>
                  </a:cubicBezTo>
                  <a:cubicBezTo>
                    <a:pt x="1345" y="854"/>
                    <a:pt x="1270" y="745"/>
                    <a:pt x="1164" y="690"/>
                  </a:cubicBezTo>
                  <a:cubicBezTo>
                    <a:pt x="1314" y="348"/>
                    <a:pt x="1314" y="348"/>
                    <a:pt x="1314" y="348"/>
                  </a:cubicBezTo>
                  <a:cubicBezTo>
                    <a:pt x="1327" y="352"/>
                    <a:pt x="1341" y="354"/>
                    <a:pt x="1356" y="354"/>
                  </a:cubicBezTo>
                  <a:cubicBezTo>
                    <a:pt x="1441" y="354"/>
                    <a:pt x="1511" y="284"/>
                    <a:pt x="1511" y="199"/>
                  </a:cubicBezTo>
                  <a:cubicBezTo>
                    <a:pt x="1511" y="113"/>
                    <a:pt x="1441" y="44"/>
                    <a:pt x="1356" y="44"/>
                  </a:cubicBezTo>
                  <a:cubicBezTo>
                    <a:pt x="1270" y="44"/>
                    <a:pt x="1201" y="113"/>
                    <a:pt x="1201" y="199"/>
                  </a:cubicBezTo>
                  <a:cubicBezTo>
                    <a:pt x="1201" y="254"/>
                    <a:pt x="1230" y="303"/>
                    <a:pt x="1274" y="330"/>
                  </a:cubicBezTo>
                  <a:cubicBezTo>
                    <a:pt x="1123" y="672"/>
                    <a:pt x="1123" y="672"/>
                    <a:pt x="1123" y="672"/>
                  </a:cubicBezTo>
                  <a:cubicBezTo>
                    <a:pt x="1086" y="659"/>
                    <a:pt x="1045" y="651"/>
                    <a:pt x="1003" y="651"/>
                  </a:cubicBezTo>
                  <a:cubicBezTo>
                    <a:pt x="914" y="651"/>
                    <a:pt x="832" y="684"/>
                    <a:pt x="770" y="739"/>
                  </a:cubicBezTo>
                  <a:cubicBezTo>
                    <a:pt x="445" y="413"/>
                    <a:pt x="445" y="413"/>
                    <a:pt x="445" y="413"/>
                  </a:cubicBezTo>
                  <a:cubicBezTo>
                    <a:pt x="482" y="370"/>
                    <a:pt x="504" y="313"/>
                    <a:pt x="504" y="252"/>
                  </a:cubicBezTo>
                  <a:cubicBezTo>
                    <a:pt x="504" y="113"/>
                    <a:pt x="391" y="0"/>
                    <a:pt x="252" y="0"/>
                  </a:cubicBezTo>
                  <a:cubicBezTo>
                    <a:pt x="113" y="0"/>
                    <a:pt x="0" y="113"/>
                    <a:pt x="0" y="252"/>
                  </a:cubicBezTo>
                  <a:cubicBezTo>
                    <a:pt x="0" y="391"/>
                    <a:pt x="113" y="504"/>
                    <a:pt x="252" y="504"/>
                  </a:cubicBezTo>
                  <a:cubicBezTo>
                    <a:pt x="314" y="504"/>
                    <a:pt x="370" y="481"/>
                    <a:pt x="414" y="445"/>
                  </a:cubicBezTo>
                  <a:cubicBezTo>
                    <a:pt x="739" y="770"/>
                    <a:pt x="739" y="770"/>
                    <a:pt x="739" y="770"/>
                  </a:cubicBezTo>
                  <a:cubicBezTo>
                    <a:pt x="685" y="832"/>
                    <a:pt x="651" y="913"/>
                    <a:pt x="651" y="1002"/>
                  </a:cubicBezTo>
                  <a:cubicBezTo>
                    <a:pt x="651" y="1089"/>
                    <a:pt x="683" y="1169"/>
                    <a:pt x="736" y="1230"/>
                  </a:cubicBezTo>
                  <a:cubicBezTo>
                    <a:pt x="568" y="1394"/>
                    <a:pt x="568" y="1394"/>
                    <a:pt x="568" y="1394"/>
                  </a:cubicBezTo>
                  <a:cubicBezTo>
                    <a:pt x="512" y="1345"/>
                    <a:pt x="439" y="1314"/>
                    <a:pt x="359" y="1314"/>
                  </a:cubicBezTo>
                  <a:cubicBezTo>
                    <a:pt x="186" y="1314"/>
                    <a:pt x="45" y="1455"/>
                    <a:pt x="45" y="1629"/>
                  </a:cubicBezTo>
                  <a:cubicBezTo>
                    <a:pt x="45" y="1802"/>
                    <a:pt x="186" y="1943"/>
                    <a:pt x="359" y="1943"/>
                  </a:cubicBezTo>
                  <a:cubicBezTo>
                    <a:pt x="532" y="1943"/>
                    <a:pt x="673" y="1802"/>
                    <a:pt x="673" y="1629"/>
                  </a:cubicBezTo>
                  <a:cubicBezTo>
                    <a:pt x="673" y="1551"/>
                    <a:pt x="645" y="1481"/>
                    <a:pt x="599" y="1426"/>
                  </a:cubicBezTo>
                  <a:cubicBezTo>
                    <a:pt x="767" y="1262"/>
                    <a:pt x="767" y="1262"/>
                    <a:pt x="767" y="1262"/>
                  </a:cubicBezTo>
                  <a:cubicBezTo>
                    <a:pt x="829" y="1319"/>
                    <a:pt x="912" y="1353"/>
                    <a:pt x="1003" y="1353"/>
                  </a:cubicBezTo>
                  <a:cubicBezTo>
                    <a:pt x="1079" y="1353"/>
                    <a:pt x="1151" y="1328"/>
                    <a:pt x="1208" y="1286"/>
                  </a:cubicBezTo>
                  <a:cubicBezTo>
                    <a:pt x="1343" y="1449"/>
                    <a:pt x="1343" y="1449"/>
                    <a:pt x="1343" y="1449"/>
                  </a:cubicBezTo>
                  <a:cubicBezTo>
                    <a:pt x="1296" y="1495"/>
                    <a:pt x="1267" y="1558"/>
                    <a:pt x="1267" y="1629"/>
                  </a:cubicBezTo>
                  <a:cubicBezTo>
                    <a:pt x="1267" y="1767"/>
                    <a:pt x="1380" y="1880"/>
                    <a:pt x="1519" y="1880"/>
                  </a:cubicBezTo>
                  <a:cubicBezTo>
                    <a:pt x="1658" y="1880"/>
                    <a:pt x="1771" y="1767"/>
                    <a:pt x="1771" y="1629"/>
                  </a:cubicBezTo>
                  <a:cubicBezTo>
                    <a:pt x="1771" y="1490"/>
                    <a:pt x="1658" y="1377"/>
                    <a:pt x="1519" y="1377"/>
                  </a:cubicBezTo>
                  <a:cubicBezTo>
                    <a:pt x="1466" y="1377"/>
                    <a:pt x="1417" y="1393"/>
                    <a:pt x="1377" y="1421"/>
                  </a:cubicBezTo>
                  <a:cubicBezTo>
                    <a:pt x="1242" y="1258"/>
                    <a:pt x="1242" y="1258"/>
                    <a:pt x="1242" y="1258"/>
                  </a:cubicBezTo>
                  <a:cubicBezTo>
                    <a:pt x="1306" y="1199"/>
                    <a:pt x="1347" y="1116"/>
                    <a:pt x="1353" y="1024"/>
                  </a:cubicBezTo>
                  <a:close/>
                  <a:moveTo>
                    <a:pt x="1563" y="980"/>
                  </a:moveTo>
                  <a:cubicBezTo>
                    <a:pt x="1574" y="909"/>
                    <a:pt x="1635" y="855"/>
                    <a:pt x="1709" y="855"/>
                  </a:cubicBezTo>
                  <a:cubicBezTo>
                    <a:pt x="1790" y="855"/>
                    <a:pt x="1856" y="921"/>
                    <a:pt x="1856" y="1002"/>
                  </a:cubicBezTo>
                  <a:cubicBezTo>
                    <a:pt x="1856" y="1083"/>
                    <a:pt x="1790" y="1149"/>
                    <a:pt x="1709" y="1149"/>
                  </a:cubicBezTo>
                  <a:cubicBezTo>
                    <a:pt x="1635" y="1149"/>
                    <a:pt x="1574" y="1095"/>
                    <a:pt x="1563" y="1024"/>
                  </a:cubicBezTo>
                  <a:cubicBezTo>
                    <a:pt x="1562" y="1017"/>
                    <a:pt x="1562" y="1009"/>
                    <a:pt x="1562" y="1002"/>
                  </a:cubicBezTo>
                  <a:cubicBezTo>
                    <a:pt x="1562" y="995"/>
                    <a:pt x="1562" y="987"/>
                    <a:pt x="1563" y="980"/>
                  </a:cubicBezTo>
                  <a:close/>
                  <a:moveTo>
                    <a:pt x="1245" y="199"/>
                  </a:moveTo>
                  <a:cubicBezTo>
                    <a:pt x="1245" y="138"/>
                    <a:pt x="1294" y="88"/>
                    <a:pt x="1356" y="88"/>
                  </a:cubicBezTo>
                  <a:cubicBezTo>
                    <a:pt x="1417" y="88"/>
                    <a:pt x="1467" y="138"/>
                    <a:pt x="1467" y="199"/>
                  </a:cubicBezTo>
                  <a:cubicBezTo>
                    <a:pt x="1467" y="260"/>
                    <a:pt x="1417" y="310"/>
                    <a:pt x="1356" y="310"/>
                  </a:cubicBezTo>
                  <a:cubicBezTo>
                    <a:pt x="1348" y="310"/>
                    <a:pt x="1340" y="309"/>
                    <a:pt x="1332" y="307"/>
                  </a:cubicBezTo>
                  <a:cubicBezTo>
                    <a:pt x="1317" y="304"/>
                    <a:pt x="1304" y="298"/>
                    <a:pt x="1292" y="289"/>
                  </a:cubicBezTo>
                  <a:cubicBezTo>
                    <a:pt x="1263" y="269"/>
                    <a:pt x="1245" y="236"/>
                    <a:pt x="1245" y="199"/>
                  </a:cubicBezTo>
                  <a:close/>
                  <a:moveTo>
                    <a:pt x="252" y="460"/>
                  </a:moveTo>
                  <a:cubicBezTo>
                    <a:pt x="138" y="460"/>
                    <a:pt x="44" y="367"/>
                    <a:pt x="44" y="252"/>
                  </a:cubicBezTo>
                  <a:cubicBezTo>
                    <a:pt x="44" y="137"/>
                    <a:pt x="138" y="44"/>
                    <a:pt x="252" y="44"/>
                  </a:cubicBezTo>
                  <a:cubicBezTo>
                    <a:pt x="367" y="44"/>
                    <a:pt x="460" y="137"/>
                    <a:pt x="460" y="252"/>
                  </a:cubicBezTo>
                  <a:cubicBezTo>
                    <a:pt x="460" y="301"/>
                    <a:pt x="443" y="347"/>
                    <a:pt x="414" y="382"/>
                  </a:cubicBezTo>
                  <a:cubicBezTo>
                    <a:pt x="405" y="394"/>
                    <a:pt x="394" y="404"/>
                    <a:pt x="383" y="413"/>
                  </a:cubicBezTo>
                  <a:cubicBezTo>
                    <a:pt x="347" y="442"/>
                    <a:pt x="302" y="460"/>
                    <a:pt x="252" y="460"/>
                  </a:cubicBezTo>
                  <a:close/>
                  <a:moveTo>
                    <a:pt x="629" y="1629"/>
                  </a:moveTo>
                  <a:cubicBezTo>
                    <a:pt x="629" y="1778"/>
                    <a:pt x="508" y="1899"/>
                    <a:pt x="359" y="1899"/>
                  </a:cubicBezTo>
                  <a:cubicBezTo>
                    <a:pt x="210" y="1899"/>
                    <a:pt x="89" y="1778"/>
                    <a:pt x="89" y="1629"/>
                  </a:cubicBezTo>
                  <a:cubicBezTo>
                    <a:pt x="89" y="1479"/>
                    <a:pt x="210" y="1358"/>
                    <a:pt x="359" y="1358"/>
                  </a:cubicBezTo>
                  <a:cubicBezTo>
                    <a:pt x="427" y="1358"/>
                    <a:pt x="489" y="1383"/>
                    <a:pt x="536" y="1425"/>
                  </a:cubicBezTo>
                  <a:cubicBezTo>
                    <a:pt x="547" y="1435"/>
                    <a:pt x="558" y="1445"/>
                    <a:pt x="567" y="1456"/>
                  </a:cubicBezTo>
                  <a:cubicBezTo>
                    <a:pt x="606" y="1503"/>
                    <a:pt x="629" y="1563"/>
                    <a:pt x="629" y="1629"/>
                  </a:cubicBezTo>
                  <a:close/>
                  <a:moveTo>
                    <a:pt x="1405" y="1455"/>
                  </a:moveTo>
                  <a:cubicBezTo>
                    <a:pt x="1437" y="1433"/>
                    <a:pt x="1477" y="1421"/>
                    <a:pt x="1519" y="1421"/>
                  </a:cubicBezTo>
                  <a:cubicBezTo>
                    <a:pt x="1634" y="1421"/>
                    <a:pt x="1727" y="1514"/>
                    <a:pt x="1727" y="1629"/>
                  </a:cubicBezTo>
                  <a:cubicBezTo>
                    <a:pt x="1727" y="1743"/>
                    <a:pt x="1634" y="1836"/>
                    <a:pt x="1519" y="1836"/>
                  </a:cubicBezTo>
                  <a:cubicBezTo>
                    <a:pt x="1404" y="1836"/>
                    <a:pt x="1311" y="1743"/>
                    <a:pt x="1311" y="1629"/>
                  </a:cubicBezTo>
                  <a:cubicBezTo>
                    <a:pt x="1311" y="1572"/>
                    <a:pt x="1334" y="1521"/>
                    <a:pt x="1371" y="1483"/>
                  </a:cubicBezTo>
                  <a:cubicBezTo>
                    <a:pt x="1381" y="1473"/>
                    <a:pt x="1392" y="1463"/>
                    <a:pt x="1405" y="1455"/>
                  </a:cubicBezTo>
                  <a:close/>
                  <a:moveTo>
                    <a:pt x="1214" y="1224"/>
                  </a:moveTo>
                  <a:cubicBezTo>
                    <a:pt x="1204" y="1234"/>
                    <a:pt x="1192" y="1244"/>
                    <a:pt x="1180" y="1252"/>
                  </a:cubicBezTo>
                  <a:cubicBezTo>
                    <a:pt x="1130" y="1288"/>
                    <a:pt x="1069" y="1309"/>
                    <a:pt x="1003" y="1309"/>
                  </a:cubicBezTo>
                  <a:cubicBezTo>
                    <a:pt x="924" y="1309"/>
                    <a:pt x="853" y="1280"/>
                    <a:pt x="798" y="1231"/>
                  </a:cubicBezTo>
                  <a:cubicBezTo>
                    <a:pt x="787" y="1222"/>
                    <a:pt x="777" y="1211"/>
                    <a:pt x="768" y="1200"/>
                  </a:cubicBezTo>
                  <a:cubicBezTo>
                    <a:pt x="723" y="1146"/>
                    <a:pt x="695" y="1077"/>
                    <a:pt x="695" y="1002"/>
                  </a:cubicBezTo>
                  <a:cubicBezTo>
                    <a:pt x="695" y="925"/>
                    <a:pt x="724" y="855"/>
                    <a:pt x="770" y="801"/>
                  </a:cubicBezTo>
                  <a:cubicBezTo>
                    <a:pt x="780" y="790"/>
                    <a:pt x="790" y="780"/>
                    <a:pt x="802" y="770"/>
                  </a:cubicBezTo>
                  <a:cubicBezTo>
                    <a:pt x="855" y="723"/>
                    <a:pt x="926" y="695"/>
                    <a:pt x="1003" y="695"/>
                  </a:cubicBezTo>
                  <a:cubicBezTo>
                    <a:pt x="1039" y="695"/>
                    <a:pt x="1073" y="701"/>
                    <a:pt x="1106" y="713"/>
                  </a:cubicBezTo>
                  <a:cubicBezTo>
                    <a:pt x="1120" y="718"/>
                    <a:pt x="1133" y="724"/>
                    <a:pt x="1146" y="730"/>
                  </a:cubicBezTo>
                  <a:cubicBezTo>
                    <a:pt x="1237" y="779"/>
                    <a:pt x="1301" y="872"/>
                    <a:pt x="1309" y="980"/>
                  </a:cubicBezTo>
                  <a:cubicBezTo>
                    <a:pt x="1309" y="987"/>
                    <a:pt x="1310" y="995"/>
                    <a:pt x="1310" y="1002"/>
                  </a:cubicBezTo>
                  <a:cubicBezTo>
                    <a:pt x="1310" y="1009"/>
                    <a:pt x="1309" y="1017"/>
                    <a:pt x="1309" y="1024"/>
                  </a:cubicBezTo>
                  <a:cubicBezTo>
                    <a:pt x="1303" y="1103"/>
                    <a:pt x="1268" y="1173"/>
                    <a:pt x="1214" y="12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6">
              <a:extLst>
                <a:ext uri="{FF2B5EF4-FFF2-40B4-BE49-F238E27FC236}">
                  <a16:creationId xmlns:a16="http://schemas.microsoft.com/office/drawing/2014/main" id="{F93D97D9-61FE-407B-85FC-7CCA608115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9504" y="2764424"/>
              <a:ext cx="1312612" cy="1345000"/>
            </a:xfrm>
            <a:custGeom>
              <a:avLst/>
              <a:gdLst>
                <a:gd name="connsiteX0" fmla="*/ 1089071 w 1312612"/>
                <a:gd name="connsiteY0" fmla="*/ 1048073 h 1345000"/>
                <a:gd name="connsiteX1" fmla="*/ 1214102 w 1312612"/>
                <a:gd name="connsiteY1" fmla="*/ 1172563 h 1345000"/>
                <a:gd name="connsiteX2" fmla="*/ 1089071 w 1312612"/>
                <a:gd name="connsiteY2" fmla="*/ 1297053 h 1345000"/>
                <a:gd name="connsiteX3" fmla="*/ 964040 w 1312612"/>
                <a:gd name="connsiteY3" fmla="*/ 1172563 h 1345000"/>
                <a:gd name="connsiteX4" fmla="*/ 1089071 w 1312612"/>
                <a:gd name="connsiteY4" fmla="*/ 1048073 h 1345000"/>
                <a:gd name="connsiteX5" fmla="*/ 205860 w 1312612"/>
                <a:gd name="connsiteY5" fmla="*/ 1000128 h 1345000"/>
                <a:gd name="connsiteX6" fmla="*/ 378041 w 1312612"/>
                <a:gd name="connsiteY6" fmla="*/ 1172564 h 1345000"/>
                <a:gd name="connsiteX7" fmla="*/ 205860 w 1312612"/>
                <a:gd name="connsiteY7" fmla="*/ 1345000 h 1345000"/>
                <a:gd name="connsiteX8" fmla="*/ 33679 w 1312612"/>
                <a:gd name="connsiteY8" fmla="*/ 1172564 h 1345000"/>
                <a:gd name="connsiteX9" fmla="*/ 205860 w 1312612"/>
                <a:gd name="connsiteY9" fmla="*/ 1000128 h 1345000"/>
                <a:gd name="connsiteX10" fmla="*/ 1233888 w 1312612"/>
                <a:gd name="connsiteY10" fmla="*/ 617404 h 1345000"/>
                <a:gd name="connsiteX11" fmla="*/ 1312612 w 1312612"/>
                <a:gd name="connsiteY11" fmla="*/ 695631 h 1345000"/>
                <a:gd name="connsiteX12" fmla="*/ 1233888 w 1312612"/>
                <a:gd name="connsiteY12" fmla="*/ 773858 h 1345000"/>
                <a:gd name="connsiteX13" fmla="*/ 1155164 w 1312612"/>
                <a:gd name="connsiteY13" fmla="*/ 695631 h 1345000"/>
                <a:gd name="connsiteX14" fmla="*/ 1233888 w 1312612"/>
                <a:gd name="connsiteY14" fmla="*/ 617404 h 1345000"/>
                <a:gd name="connsiteX15" fmla="*/ 695878 w 1312612"/>
                <a:gd name="connsiteY15" fmla="*/ 495438 h 1345000"/>
                <a:gd name="connsiteX16" fmla="*/ 896685 w 1312612"/>
                <a:gd name="connsiteY16" fmla="*/ 695632 h 1345000"/>
                <a:gd name="connsiteX17" fmla="*/ 695878 w 1312612"/>
                <a:gd name="connsiteY17" fmla="*/ 895826 h 1345000"/>
                <a:gd name="connsiteX18" fmla="*/ 495071 w 1312612"/>
                <a:gd name="connsiteY18" fmla="*/ 695632 h 1345000"/>
                <a:gd name="connsiteX19" fmla="*/ 695878 w 1312612"/>
                <a:gd name="connsiteY19" fmla="*/ 495438 h 1345000"/>
                <a:gd name="connsiteX20" fmla="*/ 965304 w 1312612"/>
                <a:gd name="connsiteY20" fmla="*/ 33646 h 1345000"/>
                <a:gd name="connsiteX21" fmla="*/ 1016243 w 1312612"/>
                <a:gd name="connsiteY21" fmla="*/ 84536 h 1345000"/>
                <a:gd name="connsiteX22" fmla="*/ 965304 w 1312612"/>
                <a:gd name="connsiteY22" fmla="*/ 135426 h 1345000"/>
                <a:gd name="connsiteX23" fmla="*/ 914365 w 1312612"/>
                <a:gd name="connsiteY23" fmla="*/ 84536 h 1345000"/>
                <a:gd name="connsiteX24" fmla="*/ 965304 w 1312612"/>
                <a:gd name="connsiteY24" fmla="*/ 33646 h 1345000"/>
                <a:gd name="connsiteX25" fmla="*/ 124610 w 1312612"/>
                <a:gd name="connsiteY25" fmla="*/ 0 h 1345000"/>
                <a:gd name="connsiteX26" fmla="*/ 249220 w 1312612"/>
                <a:gd name="connsiteY26" fmla="*/ 124911 h 1345000"/>
                <a:gd name="connsiteX27" fmla="*/ 124610 w 1312612"/>
                <a:gd name="connsiteY27" fmla="*/ 249822 h 1345000"/>
                <a:gd name="connsiteX28" fmla="*/ 0 w 1312612"/>
                <a:gd name="connsiteY28" fmla="*/ 124911 h 1345000"/>
                <a:gd name="connsiteX29" fmla="*/ 124610 w 1312612"/>
                <a:gd name="connsiteY29" fmla="*/ 0 h 13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12612" h="1345000">
                  <a:moveTo>
                    <a:pt x="1089071" y="1048073"/>
                  </a:moveTo>
                  <a:cubicBezTo>
                    <a:pt x="1158124" y="1048073"/>
                    <a:pt x="1214102" y="1103809"/>
                    <a:pt x="1214102" y="1172563"/>
                  </a:cubicBezTo>
                  <a:cubicBezTo>
                    <a:pt x="1214102" y="1241317"/>
                    <a:pt x="1158124" y="1297053"/>
                    <a:pt x="1089071" y="1297053"/>
                  </a:cubicBezTo>
                  <a:cubicBezTo>
                    <a:pt x="1020018" y="1297053"/>
                    <a:pt x="964040" y="1241317"/>
                    <a:pt x="964040" y="1172563"/>
                  </a:cubicBezTo>
                  <a:cubicBezTo>
                    <a:pt x="964040" y="1103809"/>
                    <a:pt x="1020018" y="1048073"/>
                    <a:pt x="1089071" y="1048073"/>
                  </a:cubicBezTo>
                  <a:close/>
                  <a:moveTo>
                    <a:pt x="205860" y="1000128"/>
                  </a:moveTo>
                  <a:cubicBezTo>
                    <a:pt x="300953" y="1000128"/>
                    <a:pt x="378041" y="1077330"/>
                    <a:pt x="378041" y="1172564"/>
                  </a:cubicBezTo>
                  <a:cubicBezTo>
                    <a:pt x="378041" y="1267798"/>
                    <a:pt x="300953" y="1345000"/>
                    <a:pt x="205860" y="1345000"/>
                  </a:cubicBezTo>
                  <a:cubicBezTo>
                    <a:pt x="110767" y="1345000"/>
                    <a:pt x="33679" y="1267798"/>
                    <a:pt x="33679" y="1172564"/>
                  </a:cubicBezTo>
                  <a:cubicBezTo>
                    <a:pt x="33679" y="1077330"/>
                    <a:pt x="110767" y="1000128"/>
                    <a:pt x="205860" y="1000128"/>
                  </a:cubicBezTo>
                  <a:close/>
                  <a:moveTo>
                    <a:pt x="1233888" y="617404"/>
                  </a:moveTo>
                  <a:cubicBezTo>
                    <a:pt x="1277366" y="617404"/>
                    <a:pt x="1312612" y="652427"/>
                    <a:pt x="1312612" y="695631"/>
                  </a:cubicBezTo>
                  <a:cubicBezTo>
                    <a:pt x="1312612" y="738835"/>
                    <a:pt x="1277366" y="773858"/>
                    <a:pt x="1233888" y="773858"/>
                  </a:cubicBezTo>
                  <a:cubicBezTo>
                    <a:pt x="1190410" y="773858"/>
                    <a:pt x="1155164" y="738835"/>
                    <a:pt x="1155164" y="695631"/>
                  </a:cubicBezTo>
                  <a:cubicBezTo>
                    <a:pt x="1155164" y="652427"/>
                    <a:pt x="1190410" y="617404"/>
                    <a:pt x="1233888" y="617404"/>
                  </a:cubicBezTo>
                  <a:close/>
                  <a:moveTo>
                    <a:pt x="695878" y="495438"/>
                  </a:moveTo>
                  <a:cubicBezTo>
                    <a:pt x="806781" y="495438"/>
                    <a:pt x="896685" y="585068"/>
                    <a:pt x="896685" y="695632"/>
                  </a:cubicBezTo>
                  <a:cubicBezTo>
                    <a:pt x="896685" y="806196"/>
                    <a:pt x="806781" y="895826"/>
                    <a:pt x="695878" y="895826"/>
                  </a:cubicBezTo>
                  <a:cubicBezTo>
                    <a:pt x="584975" y="895826"/>
                    <a:pt x="495071" y="806196"/>
                    <a:pt x="495071" y="695632"/>
                  </a:cubicBezTo>
                  <a:cubicBezTo>
                    <a:pt x="495071" y="585068"/>
                    <a:pt x="584975" y="495438"/>
                    <a:pt x="695878" y="495438"/>
                  </a:cubicBezTo>
                  <a:close/>
                  <a:moveTo>
                    <a:pt x="965304" y="33646"/>
                  </a:moveTo>
                  <a:cubicBezTo>
                    <a:pt x="993437" y="33646"/>
                    <a:pt x="1016243" y="56430"/>
                    <a:pt x="1016243" y="84536"/>
                  </a:cubicBezTo>
                  <a:cubicBezTo>
                    <a:pt x="1016243" y="112642"/>
                    <a:pt x="993437" y="135426"/>
                    <a:pt x="965304" y="135426"/>
                  </a:cubicBezTo>
                  <a:cubicBezTo>
                    <a:pt x="937171" y="135426"/>
                    <a:pt x="914365" y="112642"/>
                    <a:pt x="914365" y="84536"/>
                  </a:cubicBezTo>
                  <a:cubicBezTo>
                    <a:pt x="914365" y="56430"/>
                    <a:pt x="937171" y="33646"/>
                    <a:pt x="965304" y="33646"/>
                  </a:cubicBezTo>
                  <a:close/>
                  <a:moveTo>
                    <a:pt x="124610" y="0"/>
                  </a:moveTo>
                  <a:cubicBezTo>
                    <a:pt x="193430" y="0"/>
                    <a:pt x="249220" y="55925"/>
                    <a:pt x="249220" y="124911"/>
                  </a:cubicBezTo>
                  <a:cubicBezTo>
                    <a:pt x="249220" y="193897"/>
                    <a:pt x="193430" y="249822"/>
                    <a:pt x="124610" y="249822"/>
                  </a:cubicBezTo>
                  <a:cubicBezTo>
                    <a:pt x="55790" y="249822"/>
                    <a:pt x="0" y="193897"/>
                    <a:pt x="0" y="124911"/>
                  </a:cubicBezTo>
                  <a:cubicBezTo>
                    <a:pt x="0" y="55925"/>
                    <a:pt x="55790" y="0"/>
                    <a:pt x="1246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1" name="Minus Sign 20">
            <a:extLst>
              <a:ext uri="{FF2B5EF4-FFF2-40B4-BE49-F238E27FC236}">
                <a16:creationId xmlns:a16="http://schemas.microsoft.com/office/drawing/2014/main" id="{5BD98DFC-FD25-44FA-A6D3-93AF138796F0}"/>
              </a:ext>
            </a:extLst>
          </p:cNvPr>
          <p:cNvSpPr/>
          <p:nvPr/>
        </p:nvSpPr>
        <p:spPr>
          <a:xfrm>
            <a:off x="-2197210" y="783276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 descr="Checkmark">
            <a:extLst>
              <a:ext uri="{FF2B5EF4-FFF2-40B4-BE49-F238E27FC236}">
                <a16:creationId xmlns:a16="http://schemas.microsoft.com/office/drawing/2014/main" id="{08A8913F-2882-4D30-9709-99E53F8D4D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38786" y="1927911"/>
            <a:ext cx="914400" cy="914400"/>
          </a:xfrm>
          <a:prstGeom prst="rect">
            <a:avLst/>
          </a:prstGeom>
        </p:spPr>
      </p:pic>
      <p:pic>
        <p:nvPicPr>
          <p:cNvPr id="10" name="Graphic 9" descr="Users">
            <a:extLst>
              <a:ext uri="{FF2B5EF4-FFF2-40B4-BE49-F238E27FC236}">
                <a16:creationId xmlns:a16="http://schemas.microsoft.com/office/drawing/2014/main" id="{4D45F61E-76E5-4288-8F7E-998633B71C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86025" y="1988849"/>
            <a:ext cx="914400" cy="914400"/>
          </a:xfrm>
          <a:prstGeom prst="rect">
            <a:avLst/>
          </a:prstGeom>
        </p:spPr>
      </p:pic>
      <p:pic>
        <p:nvPicPr>
          <p:cNvPr id="12" name="Graphic 11" descr="Gold bars">
            <a:extLst>
              <a:ext uri="{FF2B5EF4-FFF2-40B4-BE49-F238E27FC236}">
                <a16:creationId xmlns:a16="http://schemas.microsoft.com/office/drawing/2014/main" id="{71450C18-6110-4669-94F6-05D6243C60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3485" y="1927911"/>
            <a:ext cx="914400" cy="9144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549AAEE-5410-4527-BAB4-00CA58275B18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02AF3A5-176E-4184-A70D-A5594EC1131D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134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5869E2-3FE5-8CEB-3658-7B7FA3E20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6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DF12F5-A6B7-0E67-AEEE-ECBB8A1C7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437" y="366783"/>
            <a:ext cx="1787363" cy="670626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1A1DB6F6-4DD6-468B-9576-226DE26B8661}"/>
              </a:ext>
            </a:extLst>
          </p:cNvPr>
          <p:cNvSpPr/>
          <p:nvPr/>
        </p:nvSpPr>
        <p:spPr>
          <a:xfrm>
            <a:off x="0" y="4107051"/>
            <a:ext cx="9639946" cy="1673817"/>
          </a:xfrm>
          <a:prstGeom prst="rect">
            <a:avLst/>
          </a:prstGeom>
          <a:solidFill>
            <a:srgbClr val="185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90000"/>
              </a:lnSpc>
              <a:spcBef>
                <a:spcPts val="100"/>
              </a:spcBef>
              <a:tabLst>
                <a:tab pos="299720" algn="l"/>
              </a:tabLst>
              <a:defRPr/>
            </a:pPr>
            <a:r>
              <a:rPr lang="en-US" sz="6600" spc="-10" dirty="0">
                <a:solidFill>
                  <a:schemeClr val="bg1"/>
                </a:solidFill>
                <a:cs typeface="Calibri"/>
              </a:rPr>
              <a:t>Collaboration Model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43E1D5-C983-4AF2-8EA4-15F108163F59}"/>
              </a:ext>
            </a:extLst>
          </p:cNvPr>
          <p:cNvSpPr/>
          <p:nvPr/>
        </p:nvSpPr>
        <p:spPr>
          <a:xfrm>
            <a:off x="9841424" y="4107050"/>
            <a:ext cx="2350576" cy="1673817"/>
          </a:xfrm>
          <a:prstGeom prst="rect">
            <a:avLst/>
          </a:prstGeom>
          <a:solidFill>
            <a:srgbClr val="1998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1175"/>
            <a:endParaRPr lang="en-US" sz="6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A8D5E25-E568-4538-98F3-17C65D3AF3D4}"/>
              </a:ext>
            </a:extLst>
          </p:cNvPr>
          <p:cNvGrpSpPr/>
          <p:nvPr/>
        </p:nvGrpSpPr>
        <p:grpSpPr>
          <a:xfrm>
            <a:off x="6224800" y="-86622"/>
            <a:ext cx="6010060" cy="7026997"/>
            <a:chOff x="816464" y="1578757"/>
            <a:chExt cx="6010060" cy="7026997"/>
          </a:xfrm>
          <a:solidFill>
            <a:srgbClr val="606060"/>
          </a:solidFill>
          <a:effectLst/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7FD5354-AFE1-44A1-90F0-6AD97EA1460A}"/>
                </a:ext>
              </a:extLst>
            </p:cNvPr>
            <p:cNvGrpSpPr/>
            <p:nvPr/>
          </p:nvGrpSpPr>
          <p:grpSpPr>
            <a:xfrm>
              <a:off x="1110603" y="1578757"/>
              <a:ext cx="5715921" cy="7026997"/>
              <a:chOff x="6266581" y="2948793"/>
              <a:chExt cx="575387" cy="707365"/>
            </a:xfrm>
            <a:grpFill/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BC03C50F-254F-451C-8531-E19AD0CE58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47673" y="2948793"/>
                <a:ext cx="446314" cy="707365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20BC404C-7989-4B06-97D3-7909A82E420D}"/>
                  </a:ext>
                </a:extLst>
              </p:cNvPr>
              <p:cNvCxnSpPr/>
              <p:nvPr/>
            </p:nvCxnSpPr>
            <p:spPr>
              <a:xfrm flipH="1">
                <a:off x="6362700" y="2955986"/>
                <a:ext cx="92043" cy="425389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AF4EA65-A2BA-4A0C-8D4C-739A588B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6581" y="3153663"/>
                <a:ext cx="571073" cy="257698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3372C86B-E11F-4B0E-B542-F7408F7A3F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510338" y="3138700"/>
                <a:ext cx="247539" cy="47365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E97D14F-9EDC-497E-9D06-3B843732AA2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07956" y="3327487"/>
                <a:ext cx="334012" cy="287251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6403B24-248B-466A-B847-B094EFEC185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398894" y="3130397"/>
                <a:ext cx="443074" cy="85206"/>
              </a:xfrm>
              <a:prstGeom prst="line">
                <a:avLst/>
              </a:prstGeom>
              <a:grpFill/>
              <a:ln w="57150">
                <a:solidFill>
                  <a:srgbClr val="19768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A85F04F-1B33-4CB6-8810-FF0F88A1DA55}"/>
                </a:ext>
              </a:extLst>
            </p:cNvPr>
            <p:cNvGrpSpPr/>
            <p:nvPr/>
          </p:nvGrpSpPr>
          <p:grpSpPr>
            <a:xfrm>
              <a:off x="816464" y="1785380"/>
              <a:ext cx="5412346" cy="6520420"/>
              <a:chOff x="6236972" y="2969593"/>
              <a:chExt cx="544828" cy="656371"/>
            </a:xfrm>
            <a:grpFill/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F50F7111-D61E-4DCC-85C2-A9FCD8B78926}"/>
                  </a:ext>
                </a:extLst>
              </p:cNvPr>
              <p:cNvSpPr/>
              <p:nvPr/>
            </p:nvSpPr>
            <p:spPr>
              <a:xfrm>
                <a:off x="6405562" y="305157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BD15B17-98A6-4573-B581-C5C4C6D100CB}"/>
                  </a:ext>
                </a:extLst>
              </p:cNvPr>
              <p:cNvSpPr/>
              <p:nvPr/>
            </p:nvSpPr>
            <p:spPr>
              <a:xfrm>
                <a:off x="6336441" y="3342283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81ABFDD-BDDE-41D0-AF84-7444BE7783B1}"/>
                  </a:ext>
                </a:extLst>
              </p:cNvPr>
              <p:cNvSpPr/>
              <p:nvPr/>
            </p:nvSpPr>
            <p:spPr>
              <a:xfrm>
                <a:off x="6540103" y="3258741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1D7BD66A-2ED0-42A9-9802-E906418922DD}"/>
                  </a:ext>
                </a:extLst>
              </p:cNvPr>
              <p:cNvSpPr/>
              <p:nvPr/>
            </p:nvSpPr>
            <p:spPr>
              <a:xfrm>
                <a:off x="6727031" y="3124880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C30CD0E6-4F98-47CA-A056-BB62B3BEAA47}"/>
                  </a:ext>
                </a:extLst>
              </p:cNvPr>
              <p:cNvSpPr/>
              <p:nvPr/>
            </p:nvSpPr>
            <p:spPr>
              <a:xfrm>
                <a:off x="6380321" y="3196351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26161CE-0448-4039-A3A5-0B32E77DC47B}"/>
                  </a:ext>
                </a:extLst>
              </p:cNvPr>
              <p:cNvSpPr/>
              <p:nvPr/>
            </p:nvSpPr>
            <p:spPr>
              <a:xfrm>
                <a:off x="6658928" y="3449449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8743ECA-8891-4680-B3F9-AAC7D1C457F2}"/>
                  </a:ext>
                </a:extLst>
              </p:cNvPr>
              <p:cNvSpPr/>
              <p:nvPr/>
            </p:nvSpPr>
            <p:spPr>
              <a:xfrm>
                <a:off x="6492477" y="3571195"/>
                <a:ext cx="54769" cy="5476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89F82E9-4E56-4557-BD54-1A6A19167453}"/>
                  </a:ext>
                </a:extLst>
              </p:cNvPr>
              <p:cNvSpPr/>
              <p:nvPr/>
            </p:nvSpPr>
            <p:spPr>
              <a:xfrm>
                <a:off x="6236972" y="3129472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EC3DACF-6D4E-47B2-8550-7F8F0576A435}"/>
                  </a:ext>
                </a:extLst>
              </p:cNvPr>
              <p:cNvSpPr/>
              <p:nvPr/>
            </p:nvSpPr>
            <p:spPr>
              <a:xfrm>
                <a:off x="6353175" y="2969593"/>
                <a:ext cx="45719" cy="45719"/>
              </a:xfrm>
              <a:prstGeom prst="ellipse">
                <a:avLst/>
              </a:prstGeom>
              <a:solidFill>
                <a:srgbClr val="1976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470D27F7-00E5-4BE0-A8C9-6F56AE8EED46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CEF6CC0-224E-4DF1-AAA8-3308E3A5D714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82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E0BC5-3E7B-4198-964F-218CC2844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384794-8DD5-473D-929A-9F174F1748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078" y="203498"/>
            <a:ext cx="1787363" cy="670626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144C1972-BCBC-48A0-B95D-6B3DF12082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1546" y="2136080"/>
            <a:ext cx="3196786" cy="3006388"/>
          </a:xfrm>
          <a:prstGeom prst="rect">
            <a:avLst/>
          </a:prstGeom>
          <a:solidFill>
            <a:sysClr val="window" lastClr="FFFFFF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B0B42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1B7604C-036B-463C-A77F-66EB2F6D081D}"/>
              </a:ext>
            </a:extLst>
          </p:cNvPr>
          <p:cNvSpPr/>
          <p:nvPr/>
        </p:nvSpPr>
        <p:spPr>
          <a:xfrm>
            <a:off x="541544" y="1659493"/>
            <a:ext cx="3196786" cy="468831"/>
          </a:xfrm>
          <a:prstGeom prst="rect">
            <a:avLst/>
          </a:prstGeom>
          <a:solidFill>
            <a:srgbClr val="068E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7950" tIns="72009" rIns="107950" bIns="72009" rtlCol="0" anchor="ctr" anchorCtr="0">
            <a:noAutofit/>
          </a:bodyPr>
          <a:lstStyle/>
          <a:p>
            <a:pPr lvl="0" algn="ctr" defTabSz="457200">
              <a:spcBef>
                <a:spcPts val="800"/>
              </a:spcBef>
              <a:buSzPct val="100000"/>
              <a:defRPr/>
            </a:pPr>
            <a:r>
              <a:rPr lang="en-GB" sz="1400" b="1" kern="0" dirty="0">
                <a:solidFill>
                  <a:prstClr val="white"/>
                </a:solidFill>
                <a:latin typeface="Segoe UI"/>
              </a:rPr>
              <a:t>Phase#1: Starting the Initiative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5EB467F-3D38-4EA1-9F29-BD618B8F9F21}"/>
              </a:ext>
            </a:extLst>
          </p:cNvPr>
          <p:cNvGrpSpPr/>
          <p:nvPr/>
        </p:nvGrpSpPr>
        <p:grpSpPr>
          <a:xfrm>
            <a:off x="722239" y="2232735"/>
            <a:ext cx="2755243" cy="2755243"/>
            <a:chOff x="6441346" y="1511822"/>
            <a:chExt cx="3657600" cy="3660911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5E94AB84-126D-4622-B279-12E6C25DF21A}"/>
                </a:ext>
              </a:extLst>
            </p:cNvPr>
            <p:cNvSpPr/>
            <p:nvPr/>
          </p:nvSpPr>
          <p:spPr>
            <a:xfrm>
              <a:off x="6441346" y="1511822"/>
              <a:ext cx="3657600" cy="3660911"/>
            </a:xfrm>
            <a:prstGeom prst="ellipse">
              <a:avLst/>
            </a:prstGeom>
            <a:solidFill>
              <a:srgbClr val="ADC4B9"/>
            </a:solidFill>
            <a:ln w="12700">
              <a:noFill/>
              <a:prstDash val="solid"/>
              <a:miter lim="800000"/>
              <a:headEnd/>
              <a:tailEnd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72000" rIns="108000" bIns="720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B0B42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44408FB5-0EE2-40EE-9803-85A29425751B}"/>
                </a:ext>
              </a:extLst>
            </p:cNvPr>
            <p:cNvSpPr/>
            <p:nvPr/>
          </p:nvSpPr>
          <p:spPr>
            <a:xfrm>
              <a:off x="6907956" y="3168653"/>
              <a:ext cx="2730607" cy="1527302"/>
            </a:xfrm>
            <a:prstGeom prst="rect">
              <a:avLst/>
            </a:prstGeom>
          </p:spPr>
          <p:txBody>
            <a:bodyPr wrap="square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B0B42"/>
                  </a:solidFill>
                  <a:effectLst/>
                  <a:uLnTx/>
                  <a:uFillTx/>
                  <a:latin typeface="Segoe UI"/>
                  <a:sym typeface="Calibri" panose="020F0502020204030204" pitchFamily="34" charset="0"/>
                </a:rPr>
                <a:t>cst</a:t>
              </a:r>
              <a:r>
                <a:rPr kumimoji="0" lang="en-GB" sz="1300" i="0" u="none" strike="noStrike" kern="0" cap="none" spc="0" normalizeH="0" baseline="0" noProof="0" dirty="0">
                  <a:ln>
                    <a:noFill/>
                  </a:ln>
                  <a:solidFill>
                    <a:srgbClr val="0B0B42"/>
                  </a:solidFill>
                  <a:effectLst/>
                  <a:uLnTx/>
                  <a:uFillTx/>
                  <a:latin typeface="Segoe UI"/>
                  <a:sym typeface="Calibri" panose="020F0502020204030204" pitchFamily="34" charset="0"/>
                </a:rPr>
                <a:t> supports to establish effective </a:t>
              </a:r>
              <a:br>
                <a:rPr kumimoji="0" lang="en-GB" sz="1300" i="0" u="none" strike="noStrike" kern="0" cap="none" spc="0" normalizeH="0" baseline="0" noProof="0" dirty="0">
                  <a:ln>
                    <a:noFill/>
                  </a:ln>
                  <a:solidFill>
                    <a:srgbClr val="0B0B42"/>
                  </a:solidFill>
                  <a:effectLst/>
                  <a:uLnTx/>
                  <a:uFillTx/>
                  <a:latin typeface="Segoe UI"/>
                  <a:sym typeface="Calibri" panose="020F0502020204030204" pitchFamily="34" charset="0"/>
                </a:rPr>
              </a:br>
              <a:r>
                <a:rPr kumimoji="0" lang="en-GB" sz="1300" i="0" u="none" strike="noStrike" kern="0" cap="none" spc="0" normalizeH="0" baseline="0" noProof="0" dirty="0">
                  <a:ln>
                    <a:noFill/>
                  </a:ln>
                  <a:solidFill>
                    <a:srgbClr val="0B0B42"/>
                  </a:solidFill>
                  <a:effectLst/>
                  <a:uLnTx/>
                  <a:uFillTx/>
                  <a:latin typeface="Segoe UI"/>
                  <a:sym typeface="Calibri" panose="020F0502020204030204" pitchFamily="34" charset="0"/>
                </a:rPr>
                <a:t>regulatory environment</a:t>
              </a:r>
              <a:endParaRPr kumimoji="0" lang="en-GB" sz="1300" i="0" u="none" strike="noStrike" kern="0" cap="none" spc="0" normalizeH="0" baseline="0" noProof="0" dirty="0">
                <a:ln>
                  <a:noFill/>
                </a:ln>
                <a:solidFill>
                  <a:srgbClr val="0B0B42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pic>
        <p:nvPicPr>
          <p:cNvPr id="82" name="Picture 314" descr="图片35">
            <a:extLst>
              <a:ext uri="{FF2B5EF4-FFF2-40B4-BE49-F238E27FC236}">
                <a16:creationId xmlns:a16="http://schemas.microsoft.com/office/drawing/2014/main" id="{D3EDE00A-1CFC-40ED-AE11-FA3CA3A3D6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31074" y="3197744"/>
            <a:ext cx="534306" cy="52595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Arc 82">
            <a:extLst>
              <a:ext uri="{FF2B5EF4-FFF2-40B4-BE49-F238E27FC236}">
                <a16:creationId xmlns:a16="http://schemas.microsoft.com/office/drawing/2014/main" id="{82B241E6-C371-43E4-AD00-EA69D5B707E9}"/>
              </a:ext>
            </a:extLst>
          </p:cNvPr>
          <p:cNvSpPr/>
          <p:nvPr/>
        </p:nvSpPr>
        <p:spPr>
          <a:xfrm>
            <a:off x="1299980" y="2682046"/>
            <a:ext cx="1557355" cy="1557355"/>
          </a:xfrm>
          <a:prstGeom prst="arc">
            <a:avLst>
              <a:gd name="adj1" fmla="val 10528298"/>
              <a:gd name="adj2" fmla="val 13676608"/>
            </a:avLst>
          </a:prstGeom>
          <a:noFill/>
          <a:ln w="28575" cap="flat" cmpd="sng" algn="ctr">
            <a:solidFill>
              <a:srgbClr val="009ABA"/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B0B4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Rectangle: Rounded Corners 42">
            <a:extLst>
              <a:ext uri="{FF2B5EF4-FFF2-40B4-BE49-F238E27FC236}">
                <a16:creationId xmlns:a16="http://schemas.microsoft.com/office/drawing/2014/main" id="{9367D000-7C19-4E2C-BE22-20461D78A210}"/>
              </a:ext>
            </a:extLst>
          </p:cNvPr>
          <p:cNvSpPr/>
          <p:nvPr/>
        </p:nvSpPr>
        <p:spPr>
          <a:xfrm>
            <a:off x="2384230" y="3519013"/>
            <a:ext cx="951830" cy="527789"/>
          </a:xfrm>
          <a:prstGeom prst="roundRect">
            <a:avLst>
              <a:gd name="adj" fmla="val 5086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dist="12700" dir="2700000" algn="tl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wrap="none" lIns="0" tIns="0" rIns="0" bIns="0" rtlCol="0" anchor="ctr"/>
          <a:lstStyle/>
          <a:p>
            <a:pPr marL="0" marR="0" lvl="0" indent="0" algn="ctr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Operators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re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embers </a:t>
            </a:r>
          </a:p>
          <a:p>
            <a:pPr marL="0" marR="0" lvl="0" indent="0" algn="ctr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latin typeface="Segoe UI"/>
              </a:rPr>
              <a:t>and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enablers</a:t>
            </a:r>
          </a:p>
        </p:txBody>
      </p:sp>
      <p:sp>
        <p:nvSpPr>
          <p:cNvPr id="98" name="Rectangle: Rounded Corners 44">
            <a:extLst>
              <a:ext uri="{FF2B5EF4-FFF2-40B4-BE49-F238E27FC236}">
                <a16:creationId xmlns:a16="http://schemas.microsoft.com/office/drawing/2014/main" id="{0169956F-4603-4919-883B-1BF87CE49E7F}"/>
              </a:ext>
            </a:extLst>
          </p:cNvPr>
          <p:cNvSpPr/>
          <p:nvPr/>
        </p:nvSpPr>
        <p:spPr>
          <a:xfrm>
            <a:off x="855926" y="3519013"/>
            <a:ext cx="951830" cy="527789"/>
          </a:xfrm>
          <a:prstGeom prst="roundRect">
            <a:avLst>
              <a:gd name="adj" fmla="val 5086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dist="12700" dir="2700000" algn="tl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wrap="none" lIns="0" tIns="0" rIns="0" bIns="0" rtlCol="0" anchor="ctr"/>
          <a:lstStyle/>
          <a:p>
            <a:pPr lvl="0" algn="ctr" defTabSz="457200">
              <a:lnSpc>
                <a:spcPct val="90000"/>
              </a:lnSpc>
              <a:defRPr/>
            </a:pPr>
            <a:r>
              <a:rPr lang="en-GB" sz="900" b="1" kern="0" dirty="0">
                <a:solidFill>
                  <a:srgbClr val="0B0B42"/>
                </a:solidFill>
                <a:latin typeface="Segoe UI"/>
              </a:rPr>
              <a:t>KACST</a:t>
            </a:r>
            <a:r>
              <a:rPr lang="en-GB" sz="900" kern="0" dirty="0">
                <a:solidFill>
                  <a:srgbClr val="0B0B42"/>
                </a:solidFill>
                <a:latin typeface="Segoe UI"/>
              </a:rPr>
              <a:t> host &amp;</a:t>
            </a:r>
          </a:p>
          <a:p>
            <a:pPr lvl="0" algn="ctr" defTabSz="457200">
              <a:lnSpc>
                <a:spcPct val="90000"/>
              </a:lnSpc>
              <a:defRPr/>
            </a:pPr>
            <a:r>
              <a:rPr lang="en-GB" sz="900" kern="0" dirty="0">
                <a:solidFill>
                  <a:srgbClr val="0B0B42"/>
                </a:solidFill>
                <a:latin typeface="Segoe UI"/>
              </a:rPr>
              <a:t>operate of the IXP</a:t>
            </a:r>
            <a:endParaRPr lang="en-GB" sz="800" kern="0" dirty="0">
              <a:solidFill>
                <a:srgbClr val="0B0B42"/>
              </a:solidFill>
              <a:latin typeface="Segoe UI"/>
            </a:endParaRPr>
          </a:p>
        </p:txBody>
      </p:sp>
      <p:sp>
        <p:nvSpPr>
          <p:cNvPr id="99" name="Arc 98">
            <a:extLst>
              <a:ext uri="{FF2B5EF4-FFF2-40B4-BE49-F238E27FC236}">
                <a16:creationId xmlns:a16="http://schemas.microsoft.com/office/drawing/2014/main" id="{CABE89BC-0ADE-4D3E-A25B-B9153246F951}"/>
              </a:ext>
            </a:extLst>
          </p:cNvPr>
          <p:cNvSpPr/>
          <p:nvPr/>
        </p:nvSpPr>
        <p:spPr>
          <a:xfrm>
            <a:off x="1299980" y="2682046"/>
            <a:ext cx="1557355" cy="1557355"/>
          </a:xfrm>
          <a:prstGeom prst="arc">
            <a:avLst>
              <a:gd name="adj1" fmla="val 2997352"/>
              <a:gd name="adj2" fmla="val 7864377"/>
            </a:avLst>
          </a:prstGeom>
          <a:noFill/>
          <a:ln w="28575" cap="flat" cmpd="sng" algn="ctr">
            <a:solidFill>
              <a:srgbClr val="009ABA"/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B0B4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0" name="Arc 99">
            <a:extLst>
              <a:ext uri="{FF2B5EF4-FFF2-40B4-BE49-F238E27FC236}">
                <a16:creationId xmlns:a16="http://schemas.microsoft.com/office/drawing/2014/main" id="{54CE16E5-3D35-4B34-8595-F327ECC56317}"/>
              </a:ext>
            </a:extLst>
          </p:cNvPr>
          <p:cNvSpPr/>
          <p:nvPr/>
        </p:nvSpPr>
        <p:spPr>
          <a:xfrm>
            <a:off x="1299980" y="2682046"/>
            <a:ext cx="1557355" cy="1557355"/>
          </a:xfrm>
          <a:prstGeom prst="arc">
            <a:avLst>
              <a:gd name="adj1" fmla="val 18195027"/>
              <a:gd name="adj2" fmla="val 260405"/>
            </a:avLst>
          </a:prstGeom>
          <a:noFill/>
          <a:ln w="28575" cap="flat" cmpd="sng" algn="ctr">
            <a:solidFill>
              <a:srgbClr val="009ABA"/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B0B4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" name="Rectangle: Rounded Corners 50">
            <a:extLst>
              <a:ext uri="{FF2B5EF4-FFF2-40B4-BE49-F238E27FC236}">
                <a16:creationId xmlns:a16="http://schemas.microsoft.com/office/drawing/2014/main" id="{9F3B48CC-1B17-4E81-8FA3-5BE6FD69A5FD}"/>
              </a:ext>
            </a:extLst>
          </p:cNvPr>
          <p:cNvSpPr/>
          <p:nvPr/>
        </p:nvSpPr>
        <p:spPr>
          <a:xfrm>
            <a:off x="1559105" y="2561134"/>
            <a:ext cx="1078243" cy="527789"/>
          </a:xfrm>
          <a:prstGeom prst="roundRect">
            <a:avLst>
              <a:gd name="adj" fmla="val 5086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dist="12700" dir="2700000" algn="tl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wrap="none" lIns="0" tIns="0" rIns="0" bIns="0" rtlCol="0" anchor="ctr"/>
          <a:lstStyle/>
          <a:p>
            <a:pPr lvl="0" algn="ctr" defTabSz="457200">
              <a:lnSpc>
                <a:spcPct val="90000"/>
              </a:lnSpc>
              <a:defRPr/>
            </a:pPr>
            <a:r>
              <a:rPr lang="en-GB" sz="900" b="1" kern="0" dirty="0">
                <a:latin typeface="Segoe UI"/>
              </a:rPr>
              <a:t>MCIT </a:t>
            </a:r>
            <a:r>
              <a:rPr lang="en-GB" sz="900" kern="0" dirty="0">
                <a:latin typeface="Segoe UI"/>
              </a:rPr>
              <a:t>is the </a:t>
            </a:r>
          </a:p>
          <a:p>
            <a:pPr lvl="0" algn="ctr" defTabSz="457200">
              <a:lnSpc>
                <a:spcPct val="90000"/>
              </a:lnSpc>
              <a:defRPr/>
            </a:pPr>
            <a:r>
              <a:rPr lang="en-GB" sz="900" kern="0" dirty="0">
                <a:latin typeface="Segoe UI"/>
              </a:rPr>
              <a:t>owner of IXP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0C5DB67-1B28-4BE4-A3B4-BCD720CF9A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3877" y="2136079"/>
            <a:ext cx="3196786" cy="3006388"/>
          </a:xfrm>
          <a:prstGeom prst="rect">
            <a:avLst/>
          </a:prstGeom>
          <a:solidFill>
            <a:sysClr val="window" lastClr="FFFFFF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B0B42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2B778232-91A7-4D51-83C5-DAA253133C0F}"/>
              </a:ext>
            </a:extLst>
          </p:cNvPr>
          <p:cNvSpPr/>
          <p:nvPr/>
        </p:nvSpPr>
        <p:spPr>
          <a:xfrm>
            <a:off x="4293875" y="1659492"/>
            <a:ext cx="3196786" cy="468831"/>
          </a:xfrm>
          <a:prstGeom prst="rect">
            <a:avLst/>
          </a:prstGeom>
          <a:solidFill>
            <a:srgbClr val="068E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7950" tIns="72009" rIns="107950" bIns="72009" rtlCol="0" anchor="ctr" anchorCtr="0">
            <a:noAutofit/>
          </a:bodyPr>
          <a:lstStyle/>
          <a:p>
            <a:pPr lvl="0" algn="ctr" defTabSz="457200">
              <a:spcBef>
                <a:spcPts val="800"/>
              </a:spcBef>
              <a:buSzPct val="100000"/>
              <a:defRPr/>
            </a:pPr>
            <a:r>
              <a:rPr lang="en-US" sz="1400" b="1" kern="0" dirty="0">
                <a:solidFill>
                  <a:prstClr val="white"/>
                </a:solidFill>
                <a:latin typeface="Segoe UI"/>
              </a:rPr>
              <a:t>Phase#2: Activating the participation from stakeholders 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B8898E4-934F-465C-B3D6-617D774C29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1544" y="5234440"/>
            <a:ext cx="3196786" cy="610799"/>
          </a:xfrm>
          <a:prstGeom prst="rect">
            <a:avLst/>
          </a:prstGeom>
          <a:solidFill>
            <a:srgbClr val="E6E6E6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anchor="ctr" anchorCtr="0">
            <a:noAutofit/>
          </a:bodyPr>
          <a:lstStyle/>
          <a:p>
            <a:pPr defTabSz="457200">
              <a:spcBef>
                <a:spcPts val="800"/>
              </a:spcBef>
              <a:buSzPct val="100000"/>
              <a:defRPr/>
            </a:pPr>
            <a:r>
              <a:rPr lang="en-GB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/>
              </a:rPr>
              <a:t>IXP market nascent – 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/>
              </a:rPr>
              <a:t>required intervention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9284FB94-5CF5-464A-BFFF-D38EE93A2F2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3874" y="5234439"/>
            <a:ext cx="7248817" cy="610799"/>
          </a:xfrm>
          <a:prstGeom prst="rect">
            <a:avLst/>
          </a:prstGeom>
          <a:solidFill>
            <a:srgbClr val="E6E6E6"/>
          </a:solidFill>
          <a:ln w="12700">
            <a:noFill/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anchor="ctr" anchorCtr="0">
            <a:noAutofit/>
          </a:bodyPr>
          <a:lstStyle/>
          <a:p>
            <a:pPr algn="ctr" defTabSz="457200">
              <a:spcBef>
                <a:spcPts val="800"/>
              </a:spcBef>
              <a:buSzPct val="100000"/>
              <a:defRPr/>
            </a:pPr>
            <a:r>
              <a:rPr lang="en-GB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/>
              </a:rPr>
              <a:t>Multiple 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/>
              </a:rPr>
              <a:t>committees/ councils </a:t>
            </a:r>
            <a:r>
              <a:rPr lang="en-GB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/>
              </a:rPr>
              <a:t>have been launched to enable and maintain the working principles </a:t>
            </a:r>
          </a:p>
        </p:txBody>
      </p:sp>
      <p:sp>
        <p:nvSpPr>
          <p:cNvPr id="110" name="Freeform: Shape 25">
            <a:extLst>
              <a:ext uri="{FF2B5EF4-FFF2-40B4-BE49-F238E27FC236}">
                <a16:creationId xmlns:a16="http://schemas.microsoft.com/office/drawing/2014/main" id="{97C23988-201B-4075-B53E-0C0B0A1122EA}"/>
              </a:ext>
            </a:extLst>
          </p:cNvPr>
          <p:cNvSpPr/>
          <p:nvPr/>
        </p:nvSpPr>
        <p:spPr>
          <a:xfrm>
            <a:off x="3900650" y="2615778"/>
            <a:ext cx="226696" cy="2303781"/>
          </a:xfrm>
          <a:custGeom>
            <a:avLst/>
            <a:gdLst/>
            <a:ahLst/>
            <a:cxnLst/>
            <a:rect l="0" t="0" r="0" b="0"/>
            <a:pathLst>
              <a:path w="226696" h="2303781">
                <a:moveTo>
                  <a:pt x="0" y="0"/>
                </a:moveTo>
                <a:lnTo>
                  <a:pt x="0" y="2303780"/>
                </a:lnTo>
                <a:lnTo>
                  <a:pt x="226695" y="1134745"/>
                </a:lnTo>
                <a:close/>
              </a:path>
            </a:pathLst>
          </a:custGeom>
          <a:solidFill>
            <a:srgbClr val="B0B9BE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9E92BE4D-CD47-4EB5-ACDD-E665717C670B}"/>
              </a:ext>
            </a:extLst>
          </p:cNvPr>
          <p:cNvSpPr/>
          <p:nvPr/>
        </p:nvSpPr>
        <p:spPr>
          <a:xfrm>
            <a:off x="426195" y="1529630"/>
            <a:ext cx="251968" cy="251968"/>
          </a:xfrm>
          <a:prstGeom prst="ellipse">
            <a:avLst/>
          </a:prstGeom>
          <a:solidFill>
            <a:srgbClr val="B0FE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B0B42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C1FDEC50-0099-4CEA-AD8C-06B0ABB8A914}"/>
              </a:ext>
            </a:extLst>
          </p:cNvPr>
          <p:cNvSpPr/>
          <p:nvPr/>
        </p:nvSpPr>
        <p:spPr>
          <a:xfrm>
            <a:off x="4167891" y="1529630"/>
            <a:ext cx="251968" cy="251968"/>
          </a:xfrm>
          <a:prstGeom prst="ellipse">
            <a:avLst/>
          </a:prstGeom>
          <a:solidFill>
            <a:srgbClr val="B0FE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B0B42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Calibri" panose="020F0502020204030204" pitchFamily="34" charset="0"/>
              </a:rPr>
              <a:t>2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98A8118-4095-43F1-8FB5-31D3EF53ED40}"/>
              </a:ext>
            </a:extLst>
          </p:cNvPr>
          <p:cNvCxnSpPr>
            <a:cxnSpLocks/>
          </p:cNvCxnSpPr>
          <p:nvPr/>
        </p:nvCxnSpPr>
        <p:spPr>
          <a:xfrm flipV="1">
            <a:off x="552179" y="6142680"/>
            <a:ext cx="3359106" cy="1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headEnd type="diamond"/>
            <a:tailEnd type="diamond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F320CFF-E4B6-4C40-999B-98D752867B4E}"/>
              </a:ext>
            </a:extLst>
          </p:cNvPr>
          <p:cNvCxnSpPr>
            <a:cxnSpLocks/>
          </p:cNvCxnSpPr>
          <p:nvPr/>
        </p:nvCxnSpPr>
        <p:spPr>
          <a:xfrm flipV="1">
            <a:off x="4197343" y="6138529"/>
            <a:ext cx="7406640" cy="1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headEnd type="diamond"/>
            <a:tailEnd type="diamond"/>
          </a:ln>
          <a:effectLst/>
        </p:spPr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D6A20FE6-E166-48C6-91C9-4A1709747E4C}"/>
              </a:ext>
            </a:extLst>
          </p:cNvPr>
          <p:cNvSpPr txBox="1"/>
          <p:nvPr/>
        </p:nvSpPr>
        <p:spPr>
          <a:xfrm>
            <a:off x="1896317" y="6047040"/>
            <a:ext cx="511679" cy="261610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Segoe UI"/>
                <a:cs typeface="+mj-cs"/>
              </a:rPr>
              <a:t>2018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FAD6CB5-E0A7-4FBF-AFE0-9BBA493F7FBB}"/>
              </a:ext>
            </a:extLst>
          </p:cNvPr>
          <p:cNvSpPr txBox="1"/>
          <p:nvPr/>
        </p:nvSpPr>
        <p:spPr>
          <a:xfrm>
            <a:off x="7413991" y="5998699"/>
            <a:ext cx="973344" cy="261610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Segoe UI"/>
                <a:cs typeface="+mj-cs"/>
              </a:rPr>
              <a:t>2019 - 2023</a:t>
            </a:r>
          </a:p>
        </p:txBody>
      </p:sp>
      <p:sp>
        <p:nvSpPr>
          <p:cNvPr id="119" name="Rounded Rectangle 14">
            <a:extLst>
              <a:ext uri="{FF2B5EF4-FFF2-40B4-BE49-F238E27FC236}">
                <a16:creationId xmlns:a16="http://schemas.microsoft.com/office/drawing/2014/main" id="{29DE01F8-8109-4D7E-A697-6982ACA84230}"/>
              </a:ext>
            </a:extLst>
          </p:cNvPr>
          <p:cNvSpPr/>
          <p:nvPr/>
        </p:nvSpPr>
        <p:spPr>
          <a:xfrm>
            <a:off x="4739245" y="2309193"/>
            <a:ext cx="2249424" cy="7179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</a:rPr>
              <a:t>Steering Council</a:t>
            </a:r>
          </a:p>
        </p:txBody>
      </p:sp>
      <p:sp>
        <p:nvSpPr>
          <p:cNvPr id="120" name="Rounded Rectangle 30">
            <a:extLst>
              <a:ext uri="{FF2B5EF4-FFF2-40B4-BE49-F238E27FC236}">
                <a16:creationId xmlns:a16="http://schemas.microsoft.com/office/drawing/2014/main" id="{94412CB5-32D5-49E5-9D18-769D8E061938}"/>
              </a:ext>
            </a:extLst>
          </p:cNvPr>
          <p:cNvSpPr/>
          <p:nvPr/>
        </p:nvSpPr>
        <p:spPr>
          <a:xfrm>
            <a:off x="4739245" y="3255424"/>
            <a:ext cx="2249424" cy="7179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</a:rPr>
              <a:t>Members Council</a:t>
            </a:r>
          </a:p>
        </p:txBody>
      </p:sp>
      <p:sp>
        <p:nvSpPr>
          <p:cNvPr id="121" name="Rounded Rectangle 30">
            <a:extLst>
              <a:ext uri="{FF2B5EF4-FFF2-40B4-BE49-F238E27FC236}">
                <a16:creationId xmlns:a16="http://schemas.microsoft.com/office/drawing/2014/main" id="{71C4E452-C910-4434-A231-4744DC1ACBE6}"/>
              </a:ext>
            </a:extLst>
          </p:cNvPr>
          <p:cNvSpPr/>
          <p:nvPr/>
        </p:nvSpPr>
        <p:spPr>
          <a:xfrm>
            <a:off x="4739245" y="4201655"/>
            <a:ext cx="2249424" cy="7179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 cap="flat" cmpd="sng" algn="ctr">
            <a:noFill/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rtlCol="0" anchor="ctr"/>
          <a:lstStyle/>
          <a:p>
            <a:pPr lvl="0" algn="ctr" defTabSz="457200">
              <a:defRPr/>
            </a:pPr>
            <a:r>
              <a:rPr lang="en-US" b="1" kern="0" dirty="0">
                <a:solidFill>
                  <a:schemeClr val="bg2">
                    <a:lumMod val="25000"/>
                  </a:schemeClr>
                </a:solidFill>
              </a:rPr>
              <a:t>IX Management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0BACA679-AD1A-477B-A4F0-80925E3D870A}"/>
              </a:ext>
            </a:extLst>
          </p:cNvPr>
          <p:cNvCxnSpPr>
            <a:stCxn id="119" idx="2"/>
            <a:endCxn id="120" idx="0"/>
          </p:cNvCxnSpPr>
          <p:nvPr/>
        </p:nvCxnSpPr>
        <p:spPr>
          <a:xfrm>
            <a:off x="5863957" y="3027096"/>
            <a:ext cx="0" cy="228328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3A8FE9B-0C4E-4859-B529-B09A5CBBEBD5}"/>
              </a:ext>
            </a:extLst>
          </p:cNvPr>
          <p:cNvCxnSpPr>
            <a:cxnSpLocks/>
            <a:stCxn id="120" idx="2"/>
            <a:endCxn id="121" idx="0"/>
          </p:cNvCxnSpPr>
          <p:nvPr/>
        </p:nvCxnSpPr>
        <p:spPr>
          <a:xfrm>
            <a:off x="5863957" y="3973327"/>
            <a:ext cx="0" cy="228328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6" name="Rounded Rectangle 14">
            <a:extLst>
              <a:ext uri="{FF2B5EF4-FFF2-40B4-BE49-F238E27FC236}">
                <a16:creationId xmlns:a16="http://schemas.microsoft.com/office/drawing/2014/main" id="{0E075F94-F365-4EF9-B28B-206F0F48D6C3}"/>
              </a:ext>
            </a:extLst>
          </p:cNvPr>
          <p:cNvSpPr/>
          <p:nvPr/>
        </p:nvSpPr>
        <p:spPr>
          <a:xfrm>
            <a:off x="7780974" y="2309193"/>
            <a:ext cx="3761718" cy="7179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roval on strategy &amp; planning for IX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roval for Policies and Governance 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age regulatory interaction</a:t>
            </a:r>
          </a:p>
        </p:txBody>
      </p:sp>
      <p:sp>
        <p:nvSpPr>
          <p:cNvPr id="127" name="Rounded Rectangle 16">
            <a:extLst>
              <a:ext uri="{FF2B5EF4-FFF2-40B4-BE49-F238E27FC236}">
                <a16:creationId xmlns:a16="http://schemas.microsoft.com/office/drawing/2014/main" id="{4A4B2624-BE7E-4AA2-B02F-0D132D484F3E}"/>
              </a:ext>
            </a:extLst>
          </p:cNvPr>
          <p:cNvSpPr/>
          <p:nvPr/>
        </p:nvSpPr>
        <p:spPr>
          <a:xfrm>
            <a:off x="7780974" y="4201655"/>
            <a:ext cx="3761718" cy="7179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342900" lvl="0" indent="-342900" defTabSz="4572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andling daily operations, reports, and ensuring compliance</a:t>
            </a:r>
          </a:p>
          <a:p>
            <a:pPr marL="342900" lvl="0" indent="-342900" defTabSz="4572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ttracting members and platforms to be localized and exchanged through SAIX</a:t>
            </a:r>
          </a:p>
        </p:txBody>
      </p:sp>
      <p:sp>
        <p:nvSpPr>
          <p:cNvPr id="128" name="Rounded Rectangle 30">
            <a:extLst>
              <a:ext uri="{FF2B5EF4-FFF2-40B4-BE49-F238E27FC236}">
                <a16:creationId xmlns:a16="http://schemas.microsoft.com/office/drawing/2014/main" id="{1F9F53B2-7E01-477A-9C84-B0541CD97250}"/>
              </a:ext>
            </a:extLst>
          </p:cNvPr>
          <p:cNvSpPr/>
          <p:nvPr/>
        </p:nvSpPr>
        <p:spPr>
          <a:xfrm>
            <a:off x="7780974" y="3255424"/>
            <a:ext cx="3761718" cy="7179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vise IXP Strategy 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velop expansion requirements &amp; plans 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te for Agreement, technical, or strategy change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0E465E7-F132-45B5-AA94-C05A5A47DCAA}"/>
              </a:ext>
            </a:extLst>
          </p:cNvPr>
          <p:cNvSpPr/>
          <p:nvPr/>
        </p:nvSpPr>
        <p:spPr>
          <a:xfrm>
            <a:off x="7780974" y="1655614"/>
            <a:ext cx="3761718" cy="468831"/>
          </a:xfrm>
          <a:prstGeom prst="rect">
            <a:avLst/>
          </a:prstGeom>
          <a:solidFill>
            <a:srgbClr val="068E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7950" tIns="72009" rIns="107950" bIns="72009" rtlCol="0" anchor="ctr" anchorCtr="0">
            <a:noAutofit/>
          </a:bodyPr>
          <a:lstStyle/>
          <a:p>
            <a:pPr lvl="0" algn="ctr" defTabSz="457200">
              <a:spcBef>
                <a:spcPts val="800"/>
              </a:spcBef>
              <a:buSzPct val="100000"/>
              <a:defRPr/>
            </a:pPr>
            <a:r>
              <a:rPr lang="en-US" sz="1400" b="1" kern="0" dirty="0">
                <a:solidFill>
                  <a:prstClr val="white"/>
                </a:solidFill>
                <a:latin typeface="Segoe UI"/>
              </a:rPr>
              <a:t>Role and Responsibilities </a:t>
            </a:r>
          </a:p>
        </p:txBody>
      </p:sp>
      <p:sp>
        <p:nvSpPr>
          <p:cNvPr id="65" name="Title 7">
            <a:extLst>
              <a:ext uri="{FF2B5EF4-FFF2-40B4-BE49-F238E27FC236}">
                <a16:creationId xmlns:a16="http://schemas.microsoft.com/office/drawing/2014/main" id="{2FE9664A-3AA2-403A-8266-F940AD3BC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4367"/>
            <a:ext cx="9163665" cy="646331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175A8B"/>
                </a:solidFill>
              </a:rPr>
              <a:t>Integrating with stakeholders</a:t>
            </a:r>
          </a:p>
        </p:txBody>
      </p:sp>
      <p:sp>
        <p:nvSpPr>
          <p:cNvPr id="53" name="Minus Sign 52">
            <a:extLst>
              <a:ext uri="{FF2B5EF4-FFF2-40B4-BE49-F238E27FC236}">
                <a16:creationId xmlns:a16="http://schemas.microsoft.com/office/drawing/2014/main" id="{5B46204E-D93F-41E7-B0B9-32F1C78B0518}"/>
              </a:ext>
            </a:extLst>
          </p:cNvPr>
          <p:cNvSpPr/>
          <p:nvPr/>
        </p:nvSpPr>
        <p:spPr>
          <a:xfrm>
            <a:off x="-2194560" y="803309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CCF513B-E06C-486F-AD79-0650E4B7DE0C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C992088-EBAA-46E4-B845-6EFF5A7ED43C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103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E0BC5-3E7B-4198-964F-218CC2844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384794-8DD5-473D-929A-9F174F1748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078" y="203498"/>
            <a:ext cx="1787363" cy="670626"/>
          </a:xfrm>
          <a:prstGeom prst="rect">
            <a:avLst/>
          </a:prstGeom>
        </p:spPr>
      </p:pic>
      <p:sp>
        <p:nvSpPr>
          <p:cNvPr id="65" name="Title 7">
            <a:extLst>
              <a:ext uri="{FF2B5EF4-FFF2-40B4-BE49-F238E27FC236}">
                <a16:creationId xmlns:a16="http://schemas.microsoft.com/office/drawing/2014/main" id="{2FE9664A-3AA2-403A-8266-F940AD3BC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54367"/>
            <a:ext cx="9949079" cy="646331"/>
          </a:xfrm>
        </p:spPr>
        <p:txBody>
          <a:bodyPr>
            <a:normAutofit/>
          </a:bodyPr>
          <a:lstStyle/>
          <a:p>
            <a:r>
              <a:rPr lang="en-US" sz="3600" b="1" dirty="0"/>
              <a:t>SAIX has adopted two connection models</a:t>
            </a:r>
          </a:p>
        </p:txBody>
      </p:sp>
      <p:sp>
        <p:nvSpPr>
          <p:cNvPr id="10" name="Minus Sign 9">
            <a:extLst>
              <a:ext uri="{FF2B5EF4-FFF2-40B4-BE49-F238E27FC236}">
                <a16:creationId xmlns:a16="http://schemas.microsoft.com/office/drawing/2014/main" id="{4C1735E3-045B-4D9F-A1BB-82762D7EF282}"/>
              </a:ext>
            </a:extLst>
          </p:cNvPr>
          <p:cNvSpPr/>
          <p:nvPr/>
        </p:nvSpPr>
        <p:spPr>
          <a:xfrm>
            <a:off x="-2194560" y="803309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573A531-27FF-415C-80BE-319844975EF1}"/>
              </a:ext>
            </a:extLst>
          </p:cNvPr>
          <p:cNvGrpSpPr/>
          <p:nvPr/>
        </p:nvGrpSpPr>
        <p:grpSpPr>
          <a:xfrm>
            <a:off x="5442253" y="3036535"/>
            <a:ext cx="1902052" cy="1688208"/>
            <a:chOff x="3658994" y="2659858"/>
            <a:chExt cx="1902052" cy="1688208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2940813-59CA-47D0-9447-B473B5FE29CC}"/>
                </a:ext>
              </a:extLst>
            </p:cNvPr>
            <p:cNvSpPr/>
            <p:nvPr/>
          </p:nvSpPr>
          <p:spPr>
            <a:xfrm>
              <a:off x="3658994" y="2668556"/>
              <a:ext cx="1902052" cy="1679510"/>
            </a:xfrm>
            <a:prstGeom prst="roundRect">
              <a:avLst/>
            </a:prstGeom>
            <a:solidFill>
              <a:sysClr val="window" lastClr="FFFFFF"/>
            </a:solidFill>
            <a:ln w="57150" cap="flat" cmpd="sng" algn="ctr">
              <a:solidFill>
                <a:srgbClr val="009ABA">
                  <a:shade val="50000"/>
                </a:srgb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7C7CBB3-6BEA-4A42-BB53-8B14FD9BCFFD}"/>
                </a:ext>
              </a:extLst>
            </p:cNvPr>
            <p:cNvSpPr txBox="1"/>
            <p:nvPr/>
          </p:nvSpPr>
          <p:spPr>
            <a:xfrm>
              <a:off x="4154380" y="2659858"/>
              <a:ext cx="87395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68E7B"/>
                  </a:solidFill>
                  <a:effectLst/>
                  <a:uLnTx/>
                  <a:uFillTx/>
                  <a:latin typeface="Segoe UI"/>
                  <a:cs typeface="+mj-cs"/>
                </a:rPr>
                <a:t>SAIX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F4FE923-76A7-4D6A-AA87-9C7A32209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120" t="1926" r="62016" b="20675"/>
            <a:stretch/>
          </p:blipFill>
          <p:spPr>
            <a:xfrm>
              <a:off x="4136650" y="3295523"/>
              <a:ext cx="946739" cy="892144"/>
            </a:xfrm>
            <a:prstGeom prst="ellipse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248650E-0808-48F7-B5A0-F40C9DB59BCA}"/>
              </a:ext>
            </a:extLst>
          </p:cNvPr>
          <p:cNvGrpSpPr/>
          <p:nvPr/>
        </p:nvGrpSpPr>
        <p:grpSpPr>
          <a:xfrm>
            <a:off x="954143" y="2313613"/>
            <a:ext cx="2707800" cy="2578074"/>
            <a:chOff x="1538854" y="2423133"/>
            <a:chExt cx="2707800" cy="257807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EB36B3-E98D-4DCA-826C-E05143E002E7}"/>
                </a:ext>
              </a:extLst>
            </p:cNvPr>
            <p:cNvSpPr/>
            <p:nvPr/>
          </p:nvSpPr>
          <p:spPr>
            <a:xfrm>
              <a:off x="1538854" y="2423133"/>
              <a:ext cx="2707800" cy="704261"/>
            </a:xfrm>
            <a:prstGeom prst="rect">
              <a:avLst/>
            </a:prstGeom>
            <a:solidFill>
              <a:srgbClr val="068E7B"/>
            </a:solidFill>
            <a:ln w="6350" cap="flat" cmpd="sng" algn="ctr">
              <a:solidFill>
                <a:srgbClr val="2EC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Connection</a:t>
              </a:r>
            </a:p>
          </p:txBody>
        </p:sp>
        <p:sp>
          <p:nvSpPr>
            <p:cNvPr id="17" name="Rounded Rectangle 10">
              <a:extLst>
                <a:ext uri="{FF2B5EF4-FFF2-40B4-BE49-F238E27FC236}">
                  <a16:creationId xmlns:a16="http://schemas.microsoft.com/office/drawing/2014/main" id="{4B1BCF90-DDC9-4127-92F0-83D980080FFB}"/>
                </a:ext>
              </a:extLst>
            </p:cNvPr>
            <p:cNvSpPr/>
            <p:nvPr/>
          </p:nvSpPr>
          <p:spPr>
            <a:xfrm>
              <a:off x="1538854" y="3146054"/>
              <a:ext cx="2707800" cy="1855153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rgbClr val="18BA9B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</a:rPr>
                <a:t>A potential member could plan (or have) a presence in a remote datacenter and can arrange through one of the enabling members to get a connection to SAIX.</a:t>
              </a:r>
            </a:p>
          </p:txBody>
        </p:sp>
      </p:grpSp>
      <p:sp>
        <p:nvSpPr>
          <p:cNvPr id="18" name="Right Arrow 11">
            <a:extLst>
              <a:ext uri="{FF2B5EF4-FFF2-40B4-BE49-F238E27FC236}">
                <a16:creationId xmlns:a16="http://schemas.microsoft.com/office/drawing/2014/main" id="{A07FBEFD-B227-42DF-98CA-40A4A1AD47AD}"/>
              </a:ext>
            </a:extLst>
          </p:cNvPr>
          <p:cNvSpPr/>
          <p:nvPr/>
        </p:nvSpPr>
        <p:spPr>
          <a:xfrm>
            <a:off x="3674534" y="3742255"/>
            <a:ext cx="1693828" cy="262263"/>
          </a:xfrm>
          <a:prstGeom prst="rightArrow">
            <a:avLst/>
          </a:prstGeom>
          <a:solidFill>
            <a:srgbClr val="068E7B"/>
          </a:solidFill>
          <a:ln w="12700" cap="flat" cmpd="sng" algn="ctr">
            <a:solidFill>
              <a:srgbClr val="009ABA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ight Arrow 12">
            <a:extLst>
              <a:ext uri="{FF2B5EF4-FFF2-40B4-BE49-F238E27FC236}">
                <a16:creationId xmlns:a16="http://schemas.microsoft.com/office/drawing/2014/main" id="{4A68D6AC-4332-44F6-89FB-714799B1F75B}"/>
              </a:ext>
            </a:extLst>
          </p:cNvPr>
          <p:cNvSpPr/>
          <p:nvPr/>
        </p:nvSpPr>
        <p:spPr>
          <a:xfrm rot="10800000">
            <a:off x="7370731" y="3742255"/>
            <a:ext cx="933663" cy="273864"/>
          </a:xfrm>
          <a:prstGeom prst="rightArrow">
            <a:avLst/>
          </a:prstGeom>
          <a:solidFill>
            <a:srgbClr val="068E7B"/>
          </a:solidFill>
          <a:ln w="12700" cap="flat" cmpd="sng" algn="ctr">
            <a:solidFill>
              <a:srgbClr val="009ABA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20FCB0-B2C4-4D4B-8ABD-90C4E37AB5F7}"/>
              </a:ext>
            </a:extLst>
          </p:cNvPr>
          <p:cNvSpPr txBox="1"/>
          <p:nvPr/>
        </p:nvSpPr>
        <p:spPr>
          <a:xfrm>
            <a:off x="3678767" y="3959504"/>
            <a:ext cx="17696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Segoe UI"/>
              </a:rPr>
              <a:t>Transmission through enabling Members (FBP)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C964035-7163-4730-9C89-24FA7E3A4D00}"/>
              </a:ext>
            </a:extLst>
          </p:cNvPr>
          <p:cNvGrpSpPr/>
          <p:nvPr/>
        </p:nvGrpSpPr>
        <p:grpSpPr>
          <a:xfrm>
            <a:off x="8005819" y="2313613"/>
            <a:ext cx="2707800" cy="2578075"/>
            <a:chOff x="7958313" y="2423133"/>
            <a:chExt cx="2707800" cy="257807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C41ADCC-A87E-498A-8574-A5F4E3156EF3}"/>
                </a:ext>
              </a:extLst>
            </p:cNvPr>
            <p:cNvSpPr/>
            <p:nvPr/>
          </p:nvSpPr>
          <p:spPr>
            <a:xfrm>
              <a:off x="7958313" y="2423133"/>
              <a:ext cx="2707800" cy="704261"/>
            </a:xfrm>
            <a:prstGeom prst="rect">
              <a:avLst/>
            </a:prstGeom>
            <a:solidFill>
              <a:srgbClr val="068E7B"/>
            </a:solidFill>
            <a:ln w="6350" cap="flat" cmpd="sng" algn="ctr">
              <a:solidFill>
                <a:srgbClr val="2EC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llocated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ember</a:t>
              </a:r>
            </a:p>
          </p:txBody>
        </p:sp>
        <p:sp>
          <p:nvSpPr>
            <p:cNvPr id="23" name="Rounded Rectangle 16">
              <a:extLst>
                <a:ext uri="{FF2B5EF4-FFF2-40B4-BE49-F238E27FC236}">
                  <a16:creationId xmlns:a16="http://schemas.microsoft.com/office/drawing/2014/main" id="{7C1364B1-6246-45C3-9966-3DD35D76B56B}"/>
                </a:ext>
              </a:extLst>
            </p:cNvPr>
            <p:cNvSpPr/>
            <p:nvPr/>
          </p:nvSpPr>
          <p:spPr>
            <a:xfrm>
              <a:off x="7958313" y="3127394"/>
              <a:ext cx="2707800" cy="1873814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rgbClr val="18BA9B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</a:rPr>
                <a:t>A Potential member can collocate his network within the facility that the SAIX is located, and arrange to get a back to back connection to SAIX to peer with others.</a:t>
              </a:r>
            </a:p>
          </p:txBody>
        </p:sp>
      </p:grpSp>
      <p:sp>
        <p:nvSpPr>
          <p:cNvPr id="24" name="Rounded Rectangle 17">
            <a:extLst>
              <a:ext uri="{FF2B5EF4-FFF2-40B4-BE49-F238E27FC236}">
                <a16:creationId xmlns:a16="http://schemas.microsoft.com/office/drawing/2014/main" id="{305E0D22-25B1-4F1C-AA3C-D2477F3E9197}"/>
              </a:ext>
            </a:extLst>
          </p:cNvPr>
          <p:cNvSpPr/>
          <p:nvPr/>
        </p:nvSpPr>
        <p:spPr>
          <a:xfrm>
            <a:off x="5179335" y="1999200"/>
            <a:ext cx="5859624" cy="3321698"/>
          </a:xfrm>
          <a:prstGeom prst="roundRect">
            <a:avLst>
              <a:gd name="adj" fmla="val 7003"/>
            </a:avLst>
          </a:prstGeom>
          <a:noFill/>
          <a:ln w="12700" cap="flat" cmpd="sng" algn="ctr">
            <a:solidFill>
              <a:srgbClr val="009ABA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952115-4DB9-42A4-8D0E-0CF56D15DB87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9BD62-8642-4413-85AB-61FC20B42E21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547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E0BC5-3E7B-4198-964F-218CC2844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B45F-2750-4785-822C-8A084A2F785F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384794-8DD5-473D-929A-9F174F1748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078" y="203498"/>
            <a:ext cx="1787363" cy="670626"/>
          </a:xfrm>
          <a:prstGeom prst="rect">
            <a:avLst/>
          </a:prstGeom>
        </p:spPr>
      </p:pic>
      <p:sp>
        <p:nvSpPr>
          <p:cNvPr id="65" name="Title 7">
            <a:extLst>
              <a:ext uri="{FF2B5EF4-FFF2-40B4-BE49-F238E27FC236}">
                <a16:creationId xmlns:a16="http://schemas.microsoft.com/office/drawing/2014/main" id="{2FE9664A-3AA2-403A-8266-F940AD3BC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54367"/>
            <a:ext cx="9018873" cy="646331"/>
          </a:xfrm>
        </p:spPr>
        <p:txBody>
          <a:bodyPr>
            <a:noAutofit/>
          </a:bodyPr>
          <a:lstStyle/>
          <a:p>
            <a:r>
              <a:rPr lang="en-US" sz="3600" b="1" dirty="0"/>
              <a:t>Expansion footprint through existing facilities</a:t>
            </a: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9CBFD9F0-6DD3-401A-859A-DDAED8BC6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9825" y="2609754"/>
            <a:ext cx="6128518" cy="3543396"/>
          </a:xfrm>
          <a:prstGeom prst="rect">
            <a:avLst/>
          </a:prstGeom>
        </p:spPr>
      </p:pic>
      <p:sp>
        <p:nvSpPr>
          <p:cNvPr id="162" name="Rectangle 161">
            <a:extLst>
              <a:ext uri="{FF2B5EF4-FFF2-40B4-BE49-F238E27FC236}">
                <a16:creationId xmlns:a16="http://schemas.microsoft.com/office/drawing/2014/main" id="{BC9300D0-DF10-43AA-B5CB-BA6DE6742ADB}"/>
              </a:ext>
            </a:extLst>
          </p:cNvPr>
          <p:cNvSpPr/>
          <p:nvPr/>
        </p:nvSpPr>
        <p:spPr>
          <a:xfrm>
            <a:off x="114369" y="1107541"/>
            <a:ext cx="1123943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198B6A"/>
                </a:solidFill>
              </a:rPr>
              <a:t>-    </a:t>
            </a:r>
            <a:r>
              <a:rPr lang="en-US" sz="2800" dirty="0">
                <a:solidFill>
                  <a:srgbClr val="198B6A"/>
                </a:solidFill>
              </a:rPr>
              <a:t>Certified exchange facility (</a:t>
            </a:r>
            <a:r>
              <a:rPr lang="en-US" sz="2800" dirty="0" err="1">
                <a:solidFill>
                  <a:srgbClr val="198B6A"/>
                </a:solidFill>
              </a:rPr>
              <a:t>CxF</a:t>
            </a:r>
            <a:r>
              <a:rPr lang="en-US" sz="2800" dirty="0">
                <a:solidFill>
                  <a:srgbClr val="198B6A"/>
                </a:solidFill>
              </a:rPr>
              <a:t>) Program</a:t>
            </a:r>
            <a:endParaRPr lang="en-US" dirty="0">
              <a:solidFill>
                <a:srgbClr val="198B6A"/>
              </a:solidFill>
            </a:endParaRPr>
          </a:p>
          <a:p>
            <a:pPr marL="800100" lvl="1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en-US" dirty="0">
              <a:solidFill>
                <a:schemeClr val="tx2">
                  <a:lumMod val="75000"/>
                </a:schemeClr>
              </a:solidFill>
            </a:endParaRPr>
          </a:p>
          <a:p>
            <a:pPr marL="800100" lvl="1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dirty="0"/>
              <a:t>Activating the role of enabling members to </a:t>
            </a:r>
            <a:r>
              <a:rPr lang="en-US" b="1" dirty="0"/>
              <a:t>utilize existing investment</a:t>
            </a:r>
            <a:r>
              <a:rPr lang="en-US" dirty="0"/>
              <a:t> in Facilities and Data Centers, and </a:t>
            </a:r>
            <a:r>
              <a:rPr lang="en-US" b="1" dirty="0"/>
              <a:t>emphasizing on neutrality </a:t>
            </a:r>
            <a:r>
              <a:rPr lang="en-US" dirty="0"/>
              <a:t>within operators’ facilities enabling an easy way for getting SAIX peering service</a:t>
            </a:r>
          </a:p>
        </p:txBody>
      </p:sp>
      <p:sp>
        <p:nvSpPr>
          <p:cNvPr id="10" name="Minus Sign 9">
            <a:extLst>
              <a:ext uri="{FF2B5EF4-FFF2-40B4-BE49-F238E27FC236}">
                <a16:creationId xmlns:a16="http://schemas.microsoft.com/office/drawing/2014/main" id="{4C1735E3-045B-4D9F-A1BB-82762D7EF282}"/>
              </a:ext>
            </a:extLst>
          </p:cNvPr>
          <p:cNvSpPr/>
          <p:nvPr/>
        </p:nvSpPr>
        <p:spPr>
          <a:xfrm>
            <a:off x="-2194560" y="803309"/>
            <a:ext cx="16586420" cy="390237"/>
          </a:xfrm>
          <a:prstGeom prst="mathMinus">
            <a:avLst/>
          </a:prstGeom>
          <a:solidFill>
            <a:srgbClr val="196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6FE733-7020-4B0C-9EEE-0B4F661789EA}"/>
              </a:ext>
            </a:extLst>
          </p:cNvPr>
          <p:cNvSpPr/>
          <p:nvPr/>
        </p:nvSpPr>
        <p:spPr>
          <a:xfrm>
            <a:off x="5300182" y="6308607"/>
            <a:ext cx="1562691" cy="4959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EB8F22-4D77-4189-8D99-87BBB77DB125}"/>
              </a:ext>
            </a:extLst>
          </p:cNvPr>
          <p:cNvSpPr/>
          <p:nvPr/>
        </p:nvSpPr>
        <p:spPr>
          <a:xfrm>
            <a:off x="5168900" y="6283207"/>
            <a:ext cx="1693973" cy="54939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885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 - عام"/>
  <p:tag name="BJHEADERFOOTERTEXTMARKING" val="Public - عام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Custom 22">
      <a:dk1>
        <a:srgbClr val="808080"/>
      </a:dk1>
      <a:lt1>
        <a:srgbClr val="FFFFFF"/>
      </a:lt1>
      <a:dk2>
        <a:srgbClr val="24B3BA"/>
      </a:dk2>
      <a:lt2>
        <a:srgbClr val="606060"/>
      </a:lt2>
      <a:accent1>
        <a:srgbClr val="E0E0E0"/>
      </a:accent1>
      <a:accent2>
        <a:srgbClr val="C8ECED"/>
      </a:accent2>
      <a:accent3>
        <a:srgbClr val="E0E0E0"/>
      </a:accent3>
      <a:accent4>
        <a:srgbClr val="5AC6CB"/>
      </a:accent4>
      <a:accent5>
        <a:srgbClr val="576A90"/>
      </a:accent5>
      <a:accent6>
        <a:srgbClr val="C9E0F0"/>
      </a:accent6>
      <a:hlink>
        <a:srgbClr val="5AC6CB"/>
      </a:hlink>
      <a:folHlink>
        <a:srgbClr val="91D9D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76A90"/>
        </a:solidFill>
        <a:ln w="9525" cap="rnd" cmpd="sng" algn="ctr">
          <a:solidFill>
            <a:srgbClr val="576A9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rgbClr val="80808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MCIT New Template_Mar25" id="{B63D0F46-6C85-42D8-A1C2-750CDC34A280}" vid="{AFACB7F3-846B-4C0E-8987-BB773F53E9E8}"/>
    </a:ext>
  </a:extLst>
</a:theme>
</file>

<file path=ppt/theme/theme3.xml><?xml version="1.0" encoding="utf-8"?>
<a:theme xmlns:a="http://schemas.openxmlformats.org/drawingml/2006/main" name="1_BCG Grid 16:9">
  <a:themeElements>
    <a:clrScheme name="MCIT">
      <a:dk1>
        <a:srgbClr val="808080"/>
      </a:dk1>
      <a:lt1>
        <a:srgbClr val="FFFFFF"/>
      </a:lt1>
      <a:dk2>
        <a:srgbClr val="24B3BA"/>
      </a:dk2>
      <a:lt2>
        <a:srgbClr val="808080"/>
      </a:lt2>
      <a:accent1>
        <a:srgbClr val="E0E0E0"/>
      </a:accent1>
      <a:accent2>
        <a:srgbClr val="C8ECED"/>
      </a:accent2>
      <a:accent3>
        <a:srgbClr val="E0E0E0"/>
      </a:accent3>
      <a:accent4>
        <a:srgbClr val="5AC6CB"/>
      </a:accent4>
      <a:accent5>
        <a:srgbClr val="576A90"/>
      </a:accent5>
      <a:accent6>
        <a:srgbClr val="C9E0F0"/>
      </a:accent6>
      <a:hlink>
        <a:srgbClr val="5AC6CB"/>
      </a:hlink>
      <a:folHlink>
        <a:srgbClr val="91D9D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76A90"/>
        </a:solidFill>
        <a:ln w="9525" cap="rnd" cmpd="sng" algn="ctr">
          <a:solidFill>
            <a:srgbClr val="576A9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80808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isl xmlns:xsd="http://www.w3.org/2001/XMLSchema" xmlns:xsi="http://www.w3.org/2001/XMLSchema-instance" xmlns="http://www.boldonjames.com/2008/01/sie/internal/label" sislVersion="0" policy="fb589ca4-3662-40b4-a29d-643516eb67b4" origin="userSelected">
  <element uid="id_classification_generalbusiness" value=""/>
</sisl>
</file>

<file path=customXml/item2.xml><?xml version="1.0" encoding="utf-8"?>
<WrappedLabelHistory xmlns:xsd="http://www.w3.org/2001/XMLSchema" xmlns:xsi="http://www.w3.org/2001/XMLSchema-instance" xmlns="http://www.boldonjames.com/2016/02/Classifier/internal/wrappedLabelHistory">
  <Value>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JmYjU4OWNhNC0zNjYyLTQwYjQtYTI5ZC02NDM1MTZlYjY3YjQiIG9yaWdpbj0idXNlclNlbGVjdGVkIj48ZWxlbWVudCB1aWQ9ImlkX2NsYXNzaWZpY2F0aW9uX2dlbmVyYWxidXNpbmVzcyIgdmFsdWU9IiIgeG1sbnM9Imh0dHA6Ly93d3cuYm9sZG9uamFtZXMuY29tLzIwMDgvMDEvc2llL2ludGVybmFsL2xhYmVsIiAvPjwvc2lzbD48VXNlck5hbWU+TUNJVFxzb21pcmk8L1VzZXJOYW1lPjxEYXRlVGltZT43LzEvMjAyMiAxMToxNDozMiBQTTwvRGF0ZVRpbWU+PExhYmVsU3RyaW5nPlB1YmxpYyAtICYjeDYzOTsmI3g2Mjc7JiN4NjQ1OzwvTGFiZWxTdHJpbmc+PC9pdGVtPjwvbGFiZWxIaXN0b3J5Pg==</Value>
</WrappedLabelHistory>
</file>

<file path=customXml/itemProps1.xml><?xml version="1.0" encoding="utf-8"?>
<ds:datastoreItem xmlns:ds="http://schemas.openxmlformats.org/officeDocument/2006/customXml" ds:itemID="{B1DCF7DA-9001-46D1-8952-3DFC6FE528CB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6E79880D-182C-47CE-ABFE-20026BC3FD00}">
  <ds:schemaRefs>
    <ds:schemaRef ds:uri="http://www.w3.org/2001/XMLSchema"/>
    <ds:schemaRef ds:uri="http://www.boldonjames.com/2016/02/Classifier/internal/wrappedLabelHistor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692</TotalTime>
  <Words>785</Words>
  <Application>Microsoft Office PowerPoint</Application>
  <PresentationFormat>Widescreen</PresentationFormat>
  <Paragraphs>220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1" baseType="lpstr">
      <vt:lpstr>29LT Bukra</vt:lpstr>
      <vt:lpstr>29LT Bukra Md</vt:lpstr>
      <vt:lpstr>29LT Bukra Rg</vt:lpstr>
      <vt:lpstr>Arial</vt:lpstr>
      <vt:lpstr>Calibri</vt:lpstr>
      <vt:lpstr>Calibri (Body)</vt:lpstr>
      <vt:lpstr>Calibri Light</vt:lpstr>
      <vt:lpstr>FontAwesome</vt:lpstr>
      <vt:lpstr>Segoe UI</vt:lpstr>
      <vt:lpstr>Trebuchet MS</vt:lpstr>
      <vt:lpstr>Wingdings</vt:lpstr>
      <vt:lpstr>Office Theme</vt:lpstr>
      <vt:lpstr>BCG Grid 16:9</vt:lpstr>
      <vt:lpstr>1_BCG Grid 16:9</vt:lpstr>
      <vt:lpstr>1_Office Theme</vt:lpstr>
      <vt:lpstr>think-cell Slide</vt:lpstr>
      <vt:lpstr>PowerPoint Presentation</vt:lpstr>
      <vt:lpstr>An overview of the ecosystem</vt:lpstr>
      <vt:lpstr>Digital Infrastructure Ecosystem components</vt:lpstr>
      <vt:lpstr> Introduction</vt:lpstr>
      <vt:lpstr>Our working principles </vt:lpstr>
      <vt:lpstr>PowerPoint Presentation</vt:lpstr>
      <vt:lpstr>Integrating with stakeholders</vt:lpstr>
      <vt:lpstr>SAIX has adopted two connection models</vt:lpstr>
      <vt:lpstr>Expansion footprint through existing facilities</vt:lpstr>
      <vt:lpstr>PowerPoint Presentation</vt:lpstr>
      <vt:lpstr>Historical figures</vt:lpstr>
      <vt:lpstr>Current readings </vt:lpstr>
      <vt:lpstr>Summary of the Journey</vt:lpstr>
      <vt:lpstr>Key Results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hamad AlGhamdi</dc:creator>
  <cp:lastModifiedBy>Mohammed Alzara</cp:lastModifiedBy>
  <cp:revision>1243</cp:revision>
  <dcterms:created xsi:type="dcterms:W3CDTF">2017-08-24T06:20:48Z</dcterms:created>
  <dcterms:modified xsi:type="dcterms:W3CDTF">2023-10-11T06:5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eb696125-d8ee-4fff-8077-9f70f8e60098</vt:lpwstr>
  </property>
  <property fmtid="{D5CDD505-2E9C-101B-9397-08002B2CF9AE}" pid="3" name="bjClsUserRVM">
    <vt:lpwstr>[]</vt:lpwstr>
  </property>
  <property fmtid="{D5CDD505-2E9C-101B-9397-08002B2CF9AE}" pid="4" name="bjSaver">
    <vt:lpwstr>r37uhYG2WUoA0JaoAAYwd4PtVbOZ1hZw</vt:lpwstr>
  </property>
  <property fmtid="{D5CDD505-2E9C-101B-9397-08002B2CF9AE}" pid="5" name="bjDocumentLabelXML">
    <vt:lpwstr>&lt;?xml version="1.0" encoding="us-ascii"?&gt;&lt;sisl xmlns:xsd="http://www.w3.org/2001/XMLSchema" xmlns:xsi="http://www.w3.org/2001/XMLSchema-instance" sislVersion="0" policy="fb589ca4-3662-40b4-a29d-643516eb67b4" origin="userSelected" xmlns="http://www.boldonj</vt:lpwstr>
  </property>
  <property fmtid="{D5CDD505-2E9C-101B-9397-08002B2CF9AE}" pid="6" name="bjDocumentLabelXML-0">
    <vt:lpwstr>ames.com/2008/01/sie/internal/label"&gt;&lt;element uid="id_classification_generalbusiness" value="" /&gt;&lt;/sisl&gt;</vt:lpwstr>
  </property>
  <property fmtid="{D5CDD505-2E9C-101B-9397-08002B2CF9AE}" pid="7" name="bjDocumentSecurityLabel">
    <vt:lpwstr>Public - عام</vt:lpwstr>
  </property>
  <property fmtid="{D5CDD505-2E9C-101B-9397-08002B2CF9AE}" pid="8" name="Classification">
    <vt:lpwstr>Public - عام</vt:lpwstr>
  </property>
  <property fmtid="{D5CDD505-2E9C-101B-9397-08002B2CF9AE}" pid="9" name="bjSlideMasterFooterText">
    <vt:lpwstr>Public - عام</vt:lpwstr>
  </property>
  <property fmtid="{D5CDD505-2E9C-101B-9397-08002B2CF9AE}" pid="10" name="bjLabelHistoryID">
    <vt:lpwstr>{6E79880D-182C-47CE-ABFE-20026BC3FD00}</vt:lpwstr>
  </property>
</Properties>
</file>